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74" r:id="rId2"/>
    <p:sldId id="275" r:id="rId3"/>
    <p:sldId id="276" r:id="rId4"/>
    <p:sldId id="277" r:id="rId5"/>
    <p:sldId id="278" r:id="rId6"/>
    <p:sldId id="279" r:id="rId7"/>
    <p:sldId id="280" r:id="rId8"/>
    <p:sldId id="281" r:id="rId9"/>
    <p:sldId id="282" r:id="rId10"/>
  </p:sldIdLst>
  <p:sldSz cx="9144000" cy="6858000" type="screen4x3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B71F"/>
    <a:srgbClr val="2A9B18"/>
    <a:srgbClr val="0D65AC"/>
    <a:srgbClr val="CE202A"/>
    <a:srgbClr val="073D69"/>
    <a:srgbClr val="09497D"/>
    <a:srgbClr val="7F1318"/>
    <a:srgbClr val="A61A21"/>
    <a:srgbClr val="1E6911"/>
    <a:srgbClr val="2585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6501" autoAdjust="0"/>
  </p:normalViewPr>
  <p:slideViewPr>
    <p:cSldViewPr>
      <p:cViewPr>
        <p:scale>
          <a:sx n="57" d="100"/>
          <a:sy n="57" d="100"/>
        </p:scale>
        <p:origin x="-1728" y="-222"/>
      </p:cViewPr>
      <p:guideLst>
        <p:guide orient="horz" pos="960"/>
        <p:guide orient="horz" pos="3600"/>
        <p:guide pos="2880"/>
        <p:guide pos="5568"/>
        <p:guide pos="192"/>
        <p:guide pos="4032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11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2.2916666666666665E-2"/>
          <c:y val="3.4375000000000003E-2"/>
          <c:w val="0.93958333333333333"/>
          <c:h val="0.91562500000000002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D65AC"/>
              </a:solidFill>
            </c:spPr>
          </c:dPt>
          <c:dPt>
            <c:idx val="1"/>
            <c:bubble3D val="0"/>
            <c:spPr>
              <a:solidFill>
                <a:srgbClr val="CE202A"/>
              </a:solidFill>
            </c:spPr>
          </c:dPt>
          <c:dPt>
            <c:idx val="2"/>
            <c:bubble3D val="0"/>
            <c:spPr>
              <a:solidFill>
                <a:srgbClr val="F0B71F"/>
              </a:solidFill>
            </c:spPr>
          </c:dPt>
          <c:dPt>
            <c:idx val="3"/>
            <c:bubble3D val="0"/>
            <c:spPr>
              <a:solidFill>
                <a:srgbClr val="2A9B18"/>
              </a:solidFill>
              <a:ln>
                <a:noFill/>
              </a:ln>
            </c:spPr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lang="en-US"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916666666666665E-2"/>
          <c:y val="3.4375000000000003E-2"/>
          <c:w val="0.93958333333333333"/>
          <c:h val="0.9156250000000000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effectLst>
              <a:innerShdw dist="50800" dir="5400000">
                <a:prstClr val="black">
                  <a:alpha val="20000"/>
                </a:prstClr>
              </a:innerShdw>
            </a:effectLst>
          </c:spPr>
          <c:dPt>
            <c:idx val="0"/>
            <c:bubble3D val="0"/>
            <c:spPr>
              <a:solidFill>
                <a:srgbClr val="0D65AC"/>
              </a:solidFill>
              <a:effectLst>
                <a:innerShdw dist="50800" dir="5400000">
                  <a:prstClr val="black">
                    <a:alpha val="20000"/>
                  </a:prstClr>
                </a:innerShdw>
              </a:effectLst>
            </c:spPr>
          </c:dPt>
          <c:dPt>
            <c:idx val="1"/>
            <c:bubble3D val="0"/>
            <c:spPr>
              <a:solidFill>
                <a:srgbClr val="CE202A"/>
              </a:solidFill>
              <a:effectLst>
                <a:innerShdw dist="50800" dir="5400000">
                  <a:prstClr val="black">
                    <a:alpha val="20000"/>
                  </a:prstClr>
                </a:innerShdw>
              </a:effectLst>
            </c:spPr>
          </c:dPt>
          <c:dPt>
            <c:idx val="2"/>
            <c:bubble3D val="0"/>
            <c:spPr>
              <a:solidFill>
                <a:srgbClr val="F0B71F"/>
              </a:solidFill>
              <a:effectLst>
                <a:innerShdw dist="50800" dir="5400000">
                  <a:prstClr val="black">
                    <a:alpha val="20000"/>
                  </a:prstClr>
                </a:innerShdw>
              </a:effectLst>
            </c:spPr>
          </c:dPt>
          <c:dPt>
            <c:idx val="3"/>
            <c:bubble3D val="0"/>
            <c:spPr>
              <a:solidFill>
                <a:srgbClr val="2A9B18"/>
              </a:solidFill>
              <a:ln>
                <a:noFill/>
              </a:ln>
              <a:effectLst>
                <a:innerShdw dist="50800" dir="5400000">
                  <a:prstClr val="black">
                    <a:alpha val="20000"/>
                  </a:prstClr>
                </a:innerShdw>
              </a:effectLst>
            </c:spPr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en-US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11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2.2916666666666665E-2"/>
          <c:y val="3.4375000000000003E-2"/>
          <c:w val="0.93958333333333333"/>
          <c:h val="0.91562500000000002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D65AC"/>
              </a:solidFill>
            </c:spPr>
          </c:dPt>
          <c:dPt>
            <c:idx val="1"/>
            <c:bubble3D val="0"/>
            <c:spPr>
              <a:solidFill>
                <a:srgbClr val="CE202A"/>
              </a:solidFill>
            </c:spPr>
          </c:dPt>
          <c:dPt>
            <c:idx val="2"/>
            <c:bubble3D val="0"/>
            <c:spPr>
              <a:solidFill>
                <a:srgbClr val="F0B71F"/>
              </a:solidFill>
            </c:spPr>
          </c:dPt>
          <c:dPt>
            <c:idx val="3"/>
            <c:bubble3D val="0"/>
            <c:spPr>
              <a:solidFill>
                <a:srgbClr val="2A9B18"/>
              </a:solidFill>
              <a:ln>
                <a:noFill/>
              </a:ln>
            </c:spPr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</c:v>
                </c:pt>
                <c:pt idx="1">
                  <c:v>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lang="en-US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916666666666665E-2"/>
          <c:y val="3.4375000000000003E-2"/>
          <c:w val="0.93958333333333333"/>
          <c:h val="0.9156250000000000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effectLst>
              <a:innerShdw dist="50800" dir="5400000">
                <a:prstClr val="black">
                  <a:alpha val="20000"/>
                </a:prstClr>
              </a:innerShdw>
            </a:effectLst>
          </c:spPr>
          <c:dPt>
            <c:idx val="0"/>
            <c:bubble3D val="0"/>
            <c:spPr>
              <a:solidFill>
                <a:srgbClr val="0D65AC"/>
              </a:solidFill>
              <a:effectLst>
                <a:innerShdw dist="50800" dir="5400000">
                  <a:prstClr val="black">
                    <a:alpha val="20000"/>
                  </a:prstClr>
                </a:innerShdw>
              </a:effectLst>
            </c:spPr>
          </c:dPt>
          <c:dPt>
            <c:idx val="1"/>
            <c:bubble3D val="0"/>
            <c:spPr>
              <a:solidFill>
                <a:srgbClr val="CE202A"/>
              </a:solidFill>
              <a:effectLst>
                <a:innerShdw dist="50800" dir="5400000">
                  <a:prstClr val="black">
                    <a:alpha val="20000"/>
                  </a:prstClr>
                </a:innerShdw>
              </a:effectLst>
            </c:spPr>
          </c:dPt>
          <c:dPt>
            <c:idx val="2"/>
            <c:bubble3D val="0"/>
            <c:spPr>
              <a:solidFill>
                <a:srgbClr val="F0B71F"/>
              </a:solidFill>
              <a:effectLst>
                <a:innerShdw dist="50800" dir="5400000">
                  <a:prstClr val="black">
                    <a:alpha val="20000"/>
                  </a:prstClr>
                </a:innerShdw>
              </a:effectLst>
            </c:spPr>
          </c:dPt>
          <c:dPt>
            <c:idx val="3"/>
            <c:bubble3D val="0"/>
            <c:spPr>
              <a:solidFill>
                <a:srgbClr val="2A9B18"/>
              </a:solidFill>
              <a:ln>
                <a:noFill/>
              </a:ln>
              <a:effectLst>
                <a:innerShdw dist="50800" dir="5400000">
                  <a:prstClr val="black">
                    <a:alpha val="20000"/>
                  </a:prstClr>
                </a:innerShdw>
              </a:effectLst>
            </c:spPr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en-US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916666666666665E-2"/>
          <c:y val="3.4375000000000003E-2"/>
          <c:w val="0.93958333333333333"/>
          <c:h val="0.9156250000000000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effectLst>
              <a:innerShdw dist="50800" dir="5400000">
                <a:prstClr val="black">
                  <a:alpha val="20000"/>
                </a:prstClr>
              </a:innerShdw>
            </a:effectLst>
          </c:spPr>
          <c:dPt>
            <c:idx val="0"/>
            <c:bubble3D val="0"/>
            <c:spPr>
              <a:solidFill>
                <a:srgbClr val="0D65AC"/>
              </a:solidFill>
              <a:effectLst>
                <a:innerShdw dist="50800" dir="5400000">
                  <a:prstClr val="black">
                    <a:alpha val="20000"/>
                  </a:prstClr>
                </a:innerShdw>
              </a:effectLst>
            </c:spPr>
          </c:dPt>
          <c:dPt>
            <c:idx val="1"/>
            <c:bubble3D val="0"/>
            <c:spPr>
              <a:solidFill>
                <a:srgbClr val="CE202A"/>
              </a:solidFill>
              <a:effectLst>
                <a:innerShdw dist="50800" dir="5400000">
                  <a:prstClr val="black">
                    <a:alpha val="20000"/>
                  </a:prstClr>
                </a:innerShdw>
              </a:effectLst>
            </c:spPr>
          </c:dPt>
          <c:dPt>
            <c:idx val="2"/>
            <c:bubble3D val="0"/>
            <c:spPr>
              <a:solidFill>
                <a:srgbClr val="F0B71F"/>
              </a:solidFill>
              <a:effectLst>
                <a:innerShdw dist="50800" dir="5400000">
                  <a:prstClr val="black">
                    <a:alpha val="20000"/>
                  </a:prstClr>
                </a:innerShdw>
              </a:effectLst>
            </c:spPr>
          </c:dPt>
          <c:dPt>
            <c:idx val="3"/>
            <c:bubble3D val="0"/>
            <c:spPr>
              <a:solidFill>
                <a:srgbClr val="2A9B18"/>
              </a:solidFill>
              <a:ln>
                <a:noFill/>
              </a:ln>
              <a:effectLst>
                <a:innerShdw dist="50800" dir="5400000">
                  <a:prstClr val="black">
                    <a:alpha val="20000"/>
                  </a:prstClr>
                </a:innerShdw>
              </a:effectLst>
            </c:spPr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</c:v>
                </c:pt>
                <c:pt idx="1">
                  <c:v>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en-US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916666666666665E-2"/>
          <c:y val="3.4375000000000003E-2"/>
          <c:w val="0.93958333333333333"/>
          <c:h val="0.9156250000000000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effectLst>
              <a:innerShdw dist="50800" dir="5400000">
                <a:prstClr val="black">
                  <a:alpha val="20000"/>
                </a:prstClr>
              </a:innerShdw>
            </a:effectLst>
          </c:spPr>
          <c:dPt>
            <c:idx val="0"/>
            <c:bubble3D val="0"/>
            <c:spPr>
              <a:solidFill>
                <a:srgbClr val="0D65AC"/>
              </a:solidFill>
              <a:effectLst>
                <a:innerShdw dist="50800" dir="5400000">
                  <a:prstClr val="black">
                    <a:alpha val="20000"/>
                  </a:prstClr>
                </a:innerShdw>
              </a:effectLst>
            </c:spPr>
          </c:dPt>
          <c:dPt>
            <c:idx val="1"/>
            <c:bubble3D val="0"/>
            <c:spPr>
              <a:solidFill>
                <a:srgbClr val="CE202A"/>
              </a:solidFill>
              <a:effectLst>
                <a:innerShdw dist="50800" dir="5400000">
                  <a:prstClr val="black">
                    <a:alpha val="20000"/>
                  </a:prstClr>
                </a:innerShdw>
              </a:effectLst>
            </c:spPr>
          </c:dPt>
          <c:dPt>
            <c:idx val="2"/>
            <c:bubble3D val="0"/>
            <c:spPr>
              <a:solidFill>
                <a:srgbClr val="F0B71F"/>
              </a:solidFill>
              <a:effectLst>
                <a:innerShdw dist="50800" dir="5400000">
                  <a:prstClr val="black">
                    <a:alpha val="20000"/>
                  </a:prstClr>
                </a:innerShdw>
              </a:effectLst>
            </c:spPr>
          </c:dPt>
          <c:dPt>
            <c:idx val="3"/>
            <c:bubble3D val="0"/>
            <c:spPr>
              <a:solidFill>
                <a:srgbClr val="2A9B18"/>
              </a:solidFill>
              <a:ln>
                <a:noFill/>
              </a:ln>
              <a:effectLst>
                <a:innerShdw dist="50800" dir="5400000">
                  <a:prstClr val="black">
                    <a:alpha val="20000"/>
                  </a:prstClr>
                </a:innerShdw>
              </a:effectLst>
            </c:spPr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en-US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36904761904762E-2"/>
          <c:y val="0"/>
          <c:w val="0.96726190476190477"/>
          <c:h val="0.807525621797275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D65AC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9497D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1.5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073D69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2A9B18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2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1591936"/>
        <c:axId val="21593472"/>
      </c:barChart>
      <c:catAx>
        <c:axId val="21591936"/>
        <c:scaling>
          <c:orientation val="minMax"/>
        </c:scaling>
        <c:delete val="1"/>
        <c:axPos val="b"/>
        <c:majorTickMark val="none"/>
        <c:minorTickMark val="none"/>
        <c:tickLblPos val="nextTo"/>
        <c:crossAx val="21593472"/>
        <c:crosses val="autoZero"/>
        <c:auto val="1"/>
        <c:lblAlgn val="ctr"/>
        <c:lblOffset val="100"/>
        <c:noMultiLvlLbl val="0"/>
      </c:catAx>
      <c:valAx>
        <c:axId val="2159347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15919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36904761904762E-2"/>
          <c:y val="0"/>
          <c:w val="0.96726190476190477"/>
          <c:h val="0.807525621797275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D65AC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2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9497D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073D69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1.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CE202A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1648512"/>
        <c:axId val="21650048"/>
      </c:barChart>
      <c:catAx>
        <c:axId val="21648512"/>
        <c:scaling>
          <c:orientation val="minMax"/>
        </c:scaling>
        <c:delete val="1"/>
        <c:axPos val="b"/>
        <c:majorTickMark val="none"/>
        <c:minorTickMark val="none"/>
        <c:tickLblPos val="nextTo"/>
        <c:crossAx val="21650048"/>
        <c:crosses val="autoZero"/>
        <c:auto val="1"/>
        <c:lblAlgn val="ctr"/>
        <c:lblOffset val="100"/>
        <c:noMultiLvlLbl val="0"/>
      </c:catAx>
      <c:valAx>
        <c:axId val="2165004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16485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F0B71F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CE202A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2A9B18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2.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0D65AC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1371520"/>
        <c:axId val="21377408"/>
      </c:barChart>
      <c:catAx>
        <c:axId val="21371520"/>
        <c:scaling>
          <c:orientation val="minMax"/>
        </c:scaling>
        <c:delete val="1"/>
        <c:axPos val="b"/>
        <c:majorTickMark val="out"/>
        <c:minorTickMark val="none"/>
        <c:tickLblPos val="nextTo"/>
        <c:crossAx val="21377408"/>
        <c:crosses val="autoZero"/>
        <c:auto val="1"/>
        <c:lblAlgn val="ctr"/>
        <c:lblOffset val="100"/>
        <c:noMultiLvlLbl val="0"/>
      </c:catAx>
      <c:valAx>
        <c:axId val="2137740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21371520"/>
        <c:crosses val="autoZero"/>
        <c:crossBetween val="between"/>
      </c:valAx>
      <c:spPr>
        <a:ln>
          <a:noFill/>
        </a:ln>
      </c:spPr>
    </c:plotArea>
    <c:legend>
      <c:legendPos val="b"/>
      <c:layout/>
      <c:overlay val="0"/>
      <c:txPr>
        <a:bodyPr/>
        <a:lstStyle/>
        <a:p>
          <a:pPr>
            <a:defRPr sz="1200">
              <a:solidFill>
                <a:schemeClr val="tx1"/>
              </a:solidFill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F0B71F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CE202A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2A9B18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2.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0D65AC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22783488"/>
        <c:axId val="22798336"/>
      </c:barChart>
      <c:catAx>
        <c:axId val="22783488"/>
        <c:scaling>
          <c:orientation val="minMax"/>
        </c:scaling>
        <c:delete val="1"/>
        <c:axPos val="b"/>
        <c:majorTickMark val="out"/>
        <c:minorTickMark val="none"/>
        <c:tickLblPos val="nextTo"/>
        <c:crossAx val="22798336"/>
        <c:crosses val="autoZero"/>
        <c:auto val="1"/>
        <c:lblAlgn val="ctr"/>
        <c:lblOffset val="100"/>
        <c:noMultiLvlLbl val="0"/>
      </c:catAx>
      <c:valAx>
        <c:axId val="22798336"/>
        <c:scaling>
          <c:orientation val="minMax"/>
        </c:scaling>
        <c:delete val="1"/>
        <c:axPos val="l"/>
        <c:majorGridlines/>
        <c:numFmt formatCode="General" sourceLinked="1"/>
        <c:majorTickMark val="out"/>
        <c:minorTickMark val="none"/>
        <c:tickLblPos val="nextTo"/>
        <c:crossAx val="22783488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D23DB8-B862-4396-A4A6-F0544CD36667}" type="datetimeFigureOut">
              <a:rPr lang="en-US" smtClean="0"/>
              <a:t>10/9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F08A81-89DC-4053-9A3E-87653B841C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032799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FF8C83-6159-4B7D-992A-C8A69595BDED}" type="datetimeFigureOut">
              <a:rPr lang="en-US" smtClean="0"/>
              <a:pPr/>
              <a:t>10/9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41BE45-F5C9-4F77-88C9-6F63395421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02338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illysbilling.com/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illysbilling.com/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illysbilling.com/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illysbilling.com/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illysbilling.com/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illysbilling.com/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illysbilling.com/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illysbilling.com/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illysbilling.com/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ent has been provided by the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reators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 easy accounting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 for small businesses, </a:t>
            </a:r>
            <a:r>
              <a:rPr lang="en-US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ww.billysbilling.co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41BE45-F5C9-4F77-88C9-6F633954215A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10491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content has been provided by the creators of easy accounting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 for small businesses, </a:t>
            </a:r>
            <a:r>
              <a:rPr lang="en-US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ww.billysbilling.co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41BE45-F5C9-4F77-88C9-6F633954215A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608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content has been provided by the creators of easy accounting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 for small businesses, </a:t>
            </a:r>
            <a:r>
              <a:rPr lang="en-US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ww.billysbilling.co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41BE45-F5C9-4F77-88C9-6F633954215A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7715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content has been provided by the creators of easy accounting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 for small businesses, </a:t>
            </a:r>
            <a:r>
              <a:rPr lang="en-US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ww.billysbilling.co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41BE45-F5C9-4F77-88C9-6F633954215A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09085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content has been provided by the creators of easy accounting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 for small businesses, </a:t>
            </a:r>
            <a:r>
              <a:rPr lang="en-US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ww.billysbilling.co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41BE45-F5C9-4F77-88C9-6F633954215A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685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content has been provided by the creators of easy accounting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 for small businesses, </a:t>
            </a:r>
            <a:r>
              <a:rPr lang="en-US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ww.billysbilling.co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41BE45-F5C9-4F77-88C9-6F633954215A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6770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content has been provided by the creators of easy accounting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 for small businesses, </a:t>
            </a:r>
            <a:r>
              <a:rPr lang="en-US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ww.billysbilling.co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41BE45-F5C9-4F77-88C9-6F633954215A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1677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content has been provided by the creators of easy accounting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 for small businesses, </a:t>
            </a:r>
            <a:r>
              <a:rPr lang="en-US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ww.billysbilling.co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41BE45-F5C9-4F77-88C9-6F633954215A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1402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content has been provided by the creators of easy accounting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ware for small businesses, </a:t>
            </a:r>
            <a:r>
              <a:rPr lang="en-US" sz="120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ww.billysbilling.co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41BE45-F5C9-4F77-88C9-6F633954215A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1095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5C11E9-EA40-D54F-953A-82A4C72DAAAD}" type="slidenum">
              <a:rPr lang="en-US" smtClean="0"/>
              <a:pPr/>
              <a:t>‹#›</a:t>
            </a:fld>
            <a:r>
              <a:rPr lang="en-US" smtClean="0"/>
              <a:t> 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30932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Click to edit Master text styles</a:t>
            </a: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5C11E9-EA40-D54F-953A-82A4C72DAA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6586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a-DK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en-US"/>
          </a:p>
        </p:txBody>
      </p:sp>
      <p:sp>
        <p:nvSpPr>
          <p:cNvPr id="5" name="Slide Number Placeholder 5"/>
          <p:cNvSpPr txBox="1">
            <a:spLocks/>
          </p:cNvSpPr>
          <p:nvPr userDrawn="1"/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5C11E9-EA40-D54F-953A-82A4C72DAA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85888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a-DK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en-US"/>
          </a:p>
        </p:txBody>
      </p:sp>
      <p:sp>
        <p:nvSpPr>
          <p:cNvPr id="5" name="Slide Number Placeholder 5"/>
          <p:cNvSpPr txBox="1">
            <a:spLocks/>
          </p:cNvSpPr>
          <p:nvPr userDrawn="1"/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5C11E9-EA40-D54F-953A-82A4C72DAA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06358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Click to edit Master text styles</a:t>
            </a: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5C11E9-EA40-D54F-953A-82A4C72DAA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75113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en-US"/>
          </a:p>
        </p:txBody>
      </p:sp>
      <p:sp>
        <p:nvSpPr>
          <p:cNvPr id="5" name="Slide Number Placeholder 5"/>
          <p:cNvSpPr txBox="1">
            <a:spLocks/>
          </p:cNvSpPr>
          <p:nvPr userDrawn="1"/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5C11E9-EA40-D54F-953A-82A4C72DAA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11840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5C11E9-EA40-D54F-953A-82A4C72DAA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60955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5C11E9-EA40-D54F-953A-82A4C72DAA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5C11E9-EA40-D54F-953A-82A4C72DAA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5C11E9-EA40-D54F-953A-82A4C72DAAAD}" type="slidenum">
              <a:rPr lang="en-US" smtClean="0"/>
              <a:pPr/>
              <a:t>‹#›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2"/>
          </p:nvPr>
        </p:nvSpPr>
        <p:spPr>
          <a:xfrm>
            <a:off x="67056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NAME OF PRESEN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308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5C11E9-EA40-D54F-953A-82A4C72DAA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5C11E9-EA40-D54F-953A-82A4C72DAAAD}" type="slidenum">
              <a:rPr lang="en-US" smtClean="0"/>
              <a:pPr/>
              <a:t>‹#›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2"/>
          </p:nvPr>
        </p:nvSpPr>
        <p:spPr>
          <a:xfrm>
            <a:off x="67056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NAME OF PRESEN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02746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58838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5C11E9-EA40-D54F-953A-82A4C72DAA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5C11E9-EA40-D54F-953A-82A4C72DAAAD}" type="slidenum">
              <a:rPr lang="en-US" smtClean="0"/>
              <a:pPr/>
              <a:t>‹#›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2"/>
          </p:nvPr>
        </p:nvSpPr>
        <p:spPr>
          <a:xfrm>
            <a:off x="67056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NAME OF PRESEN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526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a-DK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5C11E9-EA40-D54F-953A-82A4C72DAAAD}" type="slidenum">
              <a:rPr lang="en-US" smtClean="0"/>
              <a:pPr/>
              <a:t>‹#›</a:t>
            </a:fld>
            <a:r>
              <a:rPr lang="en-US" smtClean="0"/>
              <a:t> 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104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Click to edit Master text styles</a:t>
            </a: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5C11E9-EA40-D54F-953A-82A4C72DAA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75113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en-US"/>
          </a:p>
        </p:txBody>
      </p:sp>
      <p:sp>
        <p:nvSpPr>
          <p:cNvPr id="5" name="Slide Number Placeholder 5"/>
          <p:cNvSpPr txBox="1">
            <a:spLocks/>
          </p:cNvSpPr>
          <p:nvPr userDrawn="1"/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5C11E9-EA40-D54F-953A-82A4C72DAA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1184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5C11E9-EA40-D54F-953A-82A4C72DAA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60955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Click to edit Master text styles</a:t>
            </a: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5C11E9-EA40-D54F-953A-82A4C72DAA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0718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17820000" scaled="0"/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rgbClr val="FFFFFF"/>
              </a:gs>
              <a:gs pos="1000">
                <a:srgbClr val="F2F2F2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" y="3848099"/>
            <a:ext cx="9144000" cy="3008314"/>
          </a:xfrm>
          <a:prstGeom prst="rect">
            <a:avLst/>
          </a:prstGeom>
          <a:solidFill>
            <a:srgbClr val="F2F2F2">
              <a:alpha val="48627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745" y="3804780"/>
            <a:ext cx="9126511" cy="0"/>
          </a:xfrm>
          <a:prstGeom prst="line">
            <a:avLst/>
          </a:prstGeom>
          <a:ln>
            <a:gradFill>
              <a:gsLst>
                <a:gs pos="0">
                  <a:srgbClr val="F2F2F2">
                    <a:alpha val="0"/>
                  </a:srgbClr>
                </a:gs>
                <a:gs pos="50000">
                  <a:schemeClr val="bg1">
                    <a:lumMod val="95000"/>
                  </a:schemeClr>
                </a:gs>
                <a:gs pos="100000">
                  <a:schemeClr val="bg1">
                    <a:lumMod val="95000"/>
                    <a:alpha val="0"/>
                  </a:schemeClr>
                </a:gs>
              </a:gsLst>
              <a:lin ang="0" scaled="0"/>
            </a:gradFill>
          </a:ln>
          <a:effectLst>
            <a:outerShdw blurRad="40000" dist="20000" dir="5400000" sx="102000" sy="102000" rotWithShape="0">
              <a:srgbClr val="000000">
                <a:alpha val="16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5C11E9-EA40-D54F-953A-82A4C72DAAAD}" type="slidenum">
              <a:rPr lang="en-US" smtClean="0"/>
              <a:pPr/>
              <a:t>‹#›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67056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NAME OF PRESENTER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78" r:id="rId3"/>
    <p:sldLayoutId id="2147483663" r:id="rId4"/>
    <p:sldLayoutId id="2147483662" r:id="rId5"/>
    <p:sldLayoutId id="2147483664" r:id="rId6"/>
    <p:sldLayoutId id="2147483665" r:id="rId7"/>
    <p:sldLayoutId id="2147483666" r:id="rId8"/>
    <p:sldLayoutId id="2147483669" r:id="rId9"/>
    <p:sldLayoutId id="2147483670" r:id="rId10"/>
    <p:sldLayoutId id="2147483671" r:id="rId11"/>
    <p:sldLayoutId id="2147483672" r:id="rId12"/>
    <p:sldLayoutId id="2147483675" r:id="rId13"/>
    <p:sldLayoutId id="2147483676" r:id="rId14"/>
    <p:sldLayoutId id="2147483677" r:id="rId15"/>
    <p:sldLayoutId id="2147483650" r:id="rId16"/>
  </p:sldLayoutIdLst>
  <p:timing>
    <p:tnLst>
      <p:par>
        <p:cTn id="1" dur="indefinite" restart="never" nodeType="tmRoot"/>
      </p:par>
    </p:tnLst>
  </p:timing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extBox 72"/>
          <p:cNvSpPr txBox="1"/>
          <p:nvPr/>
        </p:nvSpPr>
        <p:spPr>
          <a:xfrm>
            <a:off x="3105034" y="559832"/>
            <a:ext cx="29339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dirty="0" smtClean="0">
                <a:latin typeface="+mj-lt"/>
              </a:rPr>
              <a:t>FISCAL YEAR COMPARISON</a:t>
            </a:r>
          </a:p>
          <a:p>
            <a:pPr algn="ctr">
              <a:lnSpc>
                <a:spcPct val="80000"/>
              </a:lnSpc>
            </a:pPr>
            <a:r>
              <a:rPr lang="en-US" sz="1200" dirty="0" smtClean="0">
                <a:latin typeface="+mj-lt"/>
              </a:rPr>
              <a:t>Replace this text</a:t>
            </a:r>
          </a:p>
        </p:txBody>
      </p:sp>
      <p:cxnSp>
        <p:nvCxnSpPr>
          <p:cNvPr id="74" name="Straight Connector 73"/>
          <p:cNvCxnSpPr/>
          <p:nvPr/>
        </p:nvCxnSpPr>
        <p:spPr>
          <a:xfrm>
            <a:off x="2921000" y="1098729"/>
            <a:ext cx="33020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Slide Number Placeholder 6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1</a:t>
            </a:fld>
            <a:r>
              <a:rPr lang="en-US" dirty="0" smtClean="0"/>
              <a:t> I</a:t>
            </a:r>
            <a:endParaRPr lang="en-US" dirty="0"/>
          </a:p>
        </p:txBody>
      </p:sp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3877476904"/>
              </p:ext>
            </p:extLst>
          </p:nvPr>
        </p:nvGraphicFramePr>
        <p:xfrm>
          <a:off x="457200" y="2971597"/>
          <a:ext cx="41148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6" name="Chart 85"/>
          <p:cNvGraphicFramePr/>
          <p:nvPr>
            <p:extLst>
              <p:ext uri="{D42A27DB-BD31-4B8C-83A1-F6EECF244321}">
                <p14:modId xmlns:p14="http://schemas.microsoft.com/office/powerpoint/2010/main" val="2463924320"/>
              </p:ext>
            </p:extLst>
          </p:nvPr>
        </p:nvGraphicFramePr>
        <p:xfrm>
          <a:off x="4649638" y="2971597"/>
          <a:ext cx="41148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Rectangle 5"/>
          <p:cNvSpPr/>
          <p:nvPr/>
        </p:nvSpPr>
        <p:spPr>
          <a:xfrm>
            <a:off x="3720485" y="1600200"/>
            <a:ext cx="1703027" cy="138588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7" name="Group 86"/>
          <p:cNvGrpSpPr/>
          <p:nvPr/>
        </p:nvGrpSpPr>
        <p:grpSpPr>
          <a:xfrm>
            <a:off x="1351989" y="4953001"/>
            <a:ext cx="2325222" cy="761999"/>
            <a:chOff x="6268323" y="1933529"/>
            <a:chExt cx="2325222" cy="761999"/>
          </a:xfrm>
        </p:grpSpPr>
        <p:sp>
          <p:nvSpPr>
            <p:cNvPr id="88" name="Rectangle 87"/>
            <p:cNvSpPr/>
            <p:nvPr/>
          </p:nvSpPr>
          <p:spPr>
            <a:xfrm rot="5400000">
              <a:off x="5971116" y="2230736"/>
              <a:ext cx="761999" cy="167585"/>
            </a:xfrm>
            <a:prstGeom prst="rect">
              <a:avLst/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/>
            <a:p>
              <a:pPr defTabSz="457200"/>
              <a:endParaRPr lang="en-US" sz="12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6553200" y="1991363"/>
              <a:ext cx="2040345" cy="6463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 dirty="0" err="1" smtClean="0"/>
                <a:t>Lorem</a:t>
              </a:r>
              <a:r>
                <a:rPr lang="en-US" sz="1200" b="1" dirty="0" smtClean="0"/>
                <a:t> </a:t>
              </a:r>
              <a:r>
                <a:rPr lang="en-US" sz="1200" b="1" dirty="0" err="1"/>
                <a:t>Ipsum</a:t>
              </a:r>
              <a:r>
                <a:rPr lang="en-US" sz="1200" dirty="0"/>
                <a:t> is simply dummy text of the printing and typesetting</a:t>
              </a:r>
            </a:p>
          </p:txBody>
        </p:sp>
      </p:grpSp>
      <p:grpSp>
        <p:nvGrpSpPr>
          <p:cNvPr id="90" name="Group 89"/>
          <p:cNvGrpSpPr/>
          <p:nvPr/>
        </p:nvGrpSpPr>
        <p:grpSpPr>
          <a:xfrm>
            <a:off x="5544427" y="4953001"/>
            <a:ext cx="2325222" cy="761999"/>
            <a:chOff x="6268323" y="1933529"/>
            <a:chExt cx="2325222" cy="761999"/>
          </a:xfrm>
        </p:grpSpPr>
        <p:sp>
          <p:nvSpPr>
            <p:cNvPr id="91" name="Rectangle 90"/>
            <p:cNvSpPr/>
            <p:nvPr/>
          </p:nvSpPr>
          <p:spPr>
            <a:xfrm rot="5400000">
              <a:off x="5971116" y="2230736"/>
              <a:ext cx="761999" cy="167585"/>
            </a:xfrm>
            <a:prstGeom prst="rect">
              <a:avLst/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/>
            <a:p>
              <a:pPr defTabSz="457200"/>
              <a:endParaRPr lang="en-US" sz="12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6553200" y="1991363"/>
              <a:ext cx="2040345" cy="6463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 dirty="0" err="1" smtClean="0"/>
                <a:t>Lorem</a:t>
              </a:r>
              <a:r>
                <a:rPr lang="en-US" sz="1200" b="1" dirty="0" smtClean="0"/>
                <a:t> </a:t>
              </a:r>
              <a:r>
                <a:rPr lang="en-US" sz="1200" b="1" dirty="0" err="1"/>
                <a:t>Ipsum</a:t>
              </a:r>
              <a:r>
                <a:rPr lang="en-US" sz="1200" dirty="0"/>
                <a:t> is simply dummy text of the printing and typesetting</a:t>
              </a:r>
            </a:p>
          </p:txBody>
        </p:sp>
      </p:grpSp>
      <p:sp>
        <p:nvSpPr>
          <p:cNvPr id="8" name="Rectangle 7"/>
          <p:cNvSpPr/>
          <p:nvPr/>
        </p:nvSpPr>
        <p:spPr>
          <a:xfrm>
            <a:off x="3892496" y="1744827"/>
            <a:ext cx="155734" cy="155734"/>
          </a:xfrm>
          <a:prstGeom prst="rect">
            <a:avLst/>
          </a:prstGeom>
          <a:solidFill>
            <a:srgbClr val="0D65AC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Rectangle 92"/>
          <p:cNvSpPr/>
          <p:nvPr/>
        </p:nvSpPr>
        <p:spPr>
          <a:xfrm>
            <a:off x="3892496" y="2029079"/>
            <a:ext cx="155734" cy="155734"/>
          </a:xfrm>
          <a:prstGeom prst="rect">
            <a:avLst/>
          </a:prstGeom>
          <a:solidFill>
            <a:srgbClr val="CE202A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Rectangle 93"/>
          <p:cNvSpPr/>
          <p:nvPr/>
        </p:nvSpPr>
        <p:spPr>
          <a:xfrm>
            <a:off x="3892496" y="2313331"/>
            <a:ext cx="155734" cy="155734"/>
          </a:xfrm>
          <a:prstGeom prst="rect">
            <a:avLst/>
          </a:prstGeom>
          <a:solidFill>
            <a:srgbClr val="F0B71F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Rectangle 94"/>
          <p:cNvSpPr/>
          <p:nvPr/>
        </p:nvSpPr>
        <p:spPr>
          <a:xfrm>
            <a:off x="3892496" y="2597584"/>
            <a:ext cx="155734" cy="155734"/>
          </a:xfrm>
          <a:prstGeom prst="rect">
            <a:avLst/>
          </a:prstGeom>
          <a:solidFill>
            <a:srgbClr val="2A9B18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TextBox 95"/>
          <p:cNvSpPr txBox="1"/>
          <p:nvPr/>
        </p:nvSpPr>
        <p:spPr>
          <a:xfrm>
            <a:off x="4151057" y="1684194"/>
            <a:ext cx="1272455" cy="276999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 dirty="0" smtClean="0"/>
              <a:t>Example Text</a:t>
            </a:r>
            <a:endParaRPr lang="en-US" sz="1200" dirty="0"/>
          </a:p>
        </p:txBody>
      </p:sp>
      <p:sp>
        <p:nvSpPr>
          <p:cNvPr id="97" name="TextBox 96"/>
          <p:cNvSpPr txBox="1"/>
          <p:nvPr/>
        </p:nvSpPr>
        <p:spPr>
          <a:xfrm>
            <a:off x="4151057" y="1968446"/>
            <a:ext cx="1272455" cy="276999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 dirty="0" smtClean="0"/>
              <a:t>Example Text</a:t>
            </a:r>
            <a:endParaRPr lang="en-US" sz="1200" dirty="0"/>
          </a:p>
        </p:txBody>
      </p:sp>
      <p:sp>
        <p:nvSpPr>
          <p:cNvPr id="98" name="TextBox 97"/>
          <p:cNvSpPr txBox="1"/>
          <p:nvPr/>
        </p:nvSpPr>
        <p:spPr>
          <a:xfrm>
            <a:off x="4151057" y="2252698"/>
            <a:ext cx="1272455" cy="276999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 dirty="0" smtClean="0"/>
              <a:t>Example Text</a:t>
            </a:r>
            <a:endParaRPr lang="en-US" sz="1200" dirty="0"/>
          </a:p>
        </p:txBody>
      </p:sp>
      <p:sp>
        <p:nvSpPr>
          <p:cNvPr id="99" name="TextBox 98"/>
          <p:cNvSpPr txBox="1"/>
          <p:nvPr/>
        </p:nvSpPr>
        <p:spPr>
          <a:xfrm>
            <a:off x="4151057" y="2536950"/>
            <a:ext cx="1272455" cy="276999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 dirty="0" smtClean="0"/>
              <a:t>Example Text</a:t>
            </a:r>
            <a:endParaRPr lang="en-US" sz="1200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2438400" y="2282480"/>
            <a:ext cx="0" cy="1212791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/>
        </p:nvCxnSpPr>
        <p:spPr>
          <a:xfrm>
            <a:off x="6662057" y="2282480"/>
            <a:ext cx="0" cy="1212791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TextBox 100"/>
          <p:cNvSpPr txBox="1"/>
          <p:nvPr/>
        </p:nvSpPr>
        <p:spPr>
          <a:xfrm>
            <a:off x="1789960" y="1441993"/>
            <a:ext cx="1272455" cy="707886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4000" b="1" dirty="0" smtClean="0"/>
              <a:t>2013</a:t>
            </a:r>
            <a:endParaRPr lang="en-US" sz="4000" dirty="0"/>
          </a:p>
        </p:txBody>
      </p:sp>
      <p:sp>
        <p:nvSpPr>
          <p:cNvPr id="102" name="TextBox 101"/>
          <p:cNvSpPr txBox="1"/>
          <p:nvPr/>
        </p:nvSpPr>
        <p:spPr>
          <a:xfrm>
            <a:off x="6020824" y="1441993"/>
            <a:ext cx="1272455" cy="707886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4000" b="1" dirty="0" smtClean="0"/>
              <a:t>2014</a:t>
            </a:r>
            <a:endParaRPr lang="en-US" sz="400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NAME OF PRESENTER</a:t>
            </a:r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67"/>
          <p:cNvSpPr/>
          <p:nvPr/>
        </p:nvSpPr>
        <p:spPr>
          <a:xfrm>
            <a:off x="5515429" y="1649186"/>
            <a:ext cx="3352800" cy="1905000"/>
          </a:xfrm>
          <a:prstGeom prst="rect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81" name="Rektangel 5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86400" y="1649186"/>
            <a:ext cx="3352800" cy="1874157"/>
          </a:xfrm>
          <a:custGeom>
            <a:avLst/>
            <a:gdLst>
              <a:gd name="connsiteX0" fmla="*/ 0 w 521528"/>
              <a:gd name="connsiteY0" fmla="*/ 0 h 469375"/>
              <a:gd name="connsiteX1" fmla="*/ 521528 w 521528"/>
              <a:gd name="connsiteY1" fmla="*/ 0 h 469375"/>
              <a:gd name="connsiteX2" fmla="*/ 521528 w 521528"/>
              <a:gd name="connsiteY2" fmla="*/ 469375 h 469375"/>
              <a:gd name="connsiteX3" fmla="*/ 0 w 521528"/>
              <a:gd name="connsiteY3" fmla="*/ 469375 h 469375"/>
              <a:gd name="connsiteX4" fmla="*/ 0 w 521528"/>
              <a:gd name="connsiteY4" fmla="*/ 0 h 469375"/>
              <a:gd name="connsiteX0" fmla="*/ 0 w 521528"/>
              <a:gd name="connsiteY0" fmla="*/ 0 h 469375"/>
              <a:gd name="connsiteX1" fmla="*/ 521528 w 521528"/>
              <a:gd name="connsiteY1" fmla="*/ 0 h 469375"/>
              <a:gd name="connsiteX2" fmla="*/ 0 w 521528"/>
              <a:gd name="connsiteY2" fmla="*/ 469375 h 469375"/>
              <a:gd name="connsiteX3" fmla="*/ 0 w 521528"/>
              <a:gd name="connsiteY3" fmla="*/ 0 h 46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528" h="469375">
                <a:moveTo>
                  <a:pt x="0" y="0"/>
                </a:moveTo>
                <a:lnTo>
                  <a:pt x="521528" y="0"/>
                </a:lnTo>
                <a:lnTo>
                  <a:pt x="0" y="46937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nb-NO"/>
          </a:p>
        </p:txBody>
      </p:sp>
      <p:sp>
        <p:nvSpPr>
          <p:cNvPr id="2" name="Rectangle 1"/>
          <p:cNvSpPr/>
          <p:nvPr/>
        </p:nvSpPr>
        <p:spPr>
          <a:xfrm>
            <a:off x="304800" y="3688443"/>
            <a:ext cx="3352800" cy="1905000"/>
          </a:xfrm>
          <a:prstGeom prst="rect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80" name="Rektangel 5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04800" y="3688443"/>
            <a:ext cx="3352800" cy="1874157"/>
          </a:xfrm>
          <a:custGeom>
            <a:avLst/>
            <a:gdLst>
              <a:gd name="connsiteX0" fmla="*/ 0 w 521528"/>
              <a:gd name="connsiteY0" fmla="*/ 0 h 469375"/>
              <a:gd name="connsiteX1" fmla="*/ 521528 w 521528"/>
              <a:gd name="connsiteY1" fmla="*/ 0 h 469375"/>
              <a:gd name="connsiteX2" fmla="*/ 521528 w 521528"/>
              <a:gd name="connsiteY2" fmla="*/ 469375 h 469375"/>
              <a:gd name="connsiteX3" fmla="*/ 0 w 521528"/>
              <a:gd name="connsiteY3" fmla="*/ 469375 h 469375"/>
              <a:gd name="connsiteX4" fmla="*/ 0 w 521528"/>
              <a:gd name="connsiteY4" fmla="*/ 0 h 469375"/>
              <a:gd name="connsiteX0" fmla="*/ 0 w 521528"/>
              <a:gd name="connsiteY0" fmla="*/ 0 h 469375"/>
              <a:gd name="connsiteX1" fmla="*/ 521528 w 521528"/>
              <a:gd name="connsiteY1" fmla="*/ 0 h 469375"/>
              <a:gd name="connsiteX2" fmla="*/ 0 w 521528"/>
              <a:gd name="connsiteY2" fmla="*/ 469375 h 469375"/>
              <a:gd name="connsiteX3" fmla="*/ 0 w 521528"/>
              <a:gd name="connsiteY3" fmla="*/ 0 h 46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528" h="469375">
                <a:moveTo>
                  <a:pt x="0" y="0"/>
                </a:moveTo>
                <a:lnTo>
                  <a:pt x="521528" y="0"/>
                </a:lnTo>
                <a:lnTo>
                  <a:pt x="0" y="46937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nb-NO"/>
          </a:p>
        </p:txBody>
      </p:sp>
      <p:cxnSp>
        <p:nvCxnSpPr>
          <p:cNvPr id="71" name="Straight Arrow Connector 70"/>
          <p:cNvCxnSpPr/>
          <p:nvPr/>
        </p:nvCxnSpPr>
        <p:spPr>
          <a:xfrm>
            <a:off x="3733800" y="5576378"/>
            <a:ext cx="1905000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Arrow Connector 3"/>
          <p:cNvCxnSpPr/>
          <p:nvPr/>
        </p:nvCxnSpPr>
        <p:spPr>
          <a:xfrm flipH="1">
            <a:off x="3429000" y="3500248"/>
            <a:ext cx="1905000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/>
        </p:nvSpPr>
        <p:spPr>
          <a:xfrm>
            <a:off x="3429000" y="2823950"/>
            <a:ext cx="1272455" cy="707886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>
              <a:spcAft>
                <a:spcPts val="600"/>
              </a:spcAft>
            </a:pPr>
            <a:r>
              <a:rPr lang="en-US" sz="4000" b="1" dirty="0" smtClean="0"/>
              <a:t>2014</a:t>
            </a:r>
            <a:endParaRPr lang="en-US" sz="4000" dirty="0"/>
          </a:p>
        </p:txBody>
      </p:sp>
      <p:sp>
        <p:nvSpPr>
          <p:cNvPr id="89" name="Slide Number Placeholder 8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2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63" name="TextBox 62"/>
          <p:cNvSpPr txBox="1"/>
          <p:nvPr/>
        </p:nvSpPr>
        <p:spPr>
          <a:xfrm>
            <a:off x="3105034" y="559832"/>
            <a:ext cx="29339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dirty="0" smtClean="0">
                <a:latin typeface="+mj-lt"/>
              </a:rPr>
              <a:t>FISCAL YEAR COMPARISON</a:t>
            </a:r>
          </a:p>
          <a:p>
            <a:pPr algn="ctr">
              <a:lnSpc>
                <a:spcPct val="80000"/>
              </a:lnSpc>
            </a:pPr>
            <a:r>
              <a:rPr lang="en-US" sz="1200" dirty="0" smtClean="0">
                <a:latin typeface="+mj-lt"/>
              </a:rPr>
              <a:t>Replace this text</a:t>
            </a:r>
          </a:p>
        </p:txBody>
      </p:sp>
      <p:cxnSp>
        <p:nvCxnSpPr>
          <p:cNvPr id="64" name="Straight Connector 63"/>
          <p:cNvCxnSpPr/>
          <p:nvPr/>
        </p:nvCxnSpPr>
        <p:spPr>
          <a:xfrm>
            <a:off x="2921000" y="1098729"/>
            <a:ext cx="33020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65" name="Chart 64"/>
          <p:cNvGraphicFramePr/>
          <p:nvPr>
            <p:extLst>
              <p:ext uri="{D42A27DB-BD31-4B8C-83A1-F6EECF244321}">
                <p14:modId xmlns:p14="http://schemas.microsoft.com/office/powerpoint/2010/main" val="3109852169"/>
              </p:ext>
            </p:extLst>
          </p:nvPr>
        </p:nvGraphicFramePr>
        <p:xfrm>
          <a:off x="2057400" y="3619148"/>
          <a:ext cx="3143778" cy="20958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6" name="Chart 65"/>
          <p:cNvGraphicFramePr/>
          <p:nvPr>
            <p:extLst>
              <p:ext uri="{D42A27DB-BD31-4B8C-83A1-F6EECF244321}">
                <p14:modId xmlns:p14="http://schemas.microsoft.com/office/powerpoint/2010/main" val="47058165"/>
              </p:ext>
            </p:extLst>
          </p:nvPr>
        </p:nvGraphicFramePr>
        <p:xfrm>
          <a:off x="3962400" y="1581326"/>
          <a:ext cx="3143778" cy="20958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4" name="TextBox 73"/>
          <p:cNvSpPr txBox="1"/>
          <p:nvPr/>
        </p:nvSpPr>
        <p:spPr>
          <a:xfrm>
            <a:off x="4572000" y="4855950"/>
            <a:ext cx="1272455" cy="707886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>
              <a:spcAft>
                <a:spcPts val="600"/>
              </a:spcAft>
            </a:pPr>
            <a:r>
              <a:rPr lang="en-US" sz="4000" b="1" dirty="0" smtClean="0"/>
              <a:t>2013</a:t>
            </a:r>
            <a:endParaRPr lang="en-US" sz="4000" dirty="0"/>
          </a:p>
        </p:txBody>
      </p:sp>
      <p:sp>
        <p:nvSpPr>
          <p:cNvPr id="75" name="TextBox 74"/>
          <p:cNvSpPr txBox="1"/>
          <p:nvPr/>
        </p:nvSpPr>
        <p:spPr>
          <a:xfrm>
            <a:off x="533400" y="4002306"/>
            <a:ext cx="2040345" cy="127727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indent="-171450"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Wingdings 3" pitchFamily="18" charset="2"/>
              <a:buChar char="}"/>
            </a:pPr>
            <a:r>
              <a:rPr lang="en-US" sz="1200" b="1" dirty="0" err="1" smtClean="0"/>
              <a:t>Lorem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Ipsum</a:t>
            </a:r>
            <a:r>
              <a:rPr lang="en-US" sz="1200" dirty="0" smtClean="0"/>
              <a:t> is simply dummy text of the printing and typesetting</a:t>
            </a:r>
          </a:p>
          <a:p>
            <a:pPr marL="171450" indent="-171450"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Wingdings 3" pitchFamily="18" charset="2"/>
              <a:buChar char="}"/>
            </a:pPr>
            <a:r>
              <a:rPr lang="en-US" sz="1200" b="1" dirty="0" err="1"/>
              <a:t>Lorem</a:t>
            </a:r>
            <a:r>
              <a:rPr lang="en-US" sz="1200" b="1" dirty="0"/>
              <a:t> </a:t>
            </a:r>
            <a:r>
              <a:rPr lang="en-US" sz="1200" b="1" dirty="0" err="1"/>
              <a:t>Ipsum</a:t>
            </a:r>
            <a:r>
              <a:rPr lang="en-US" sz="1200" dirty="0"/>
              <a:t> is simply dummy text of the printing and </a:t>
            </a:r>
            <a:r>
              <a:rPr lang="en-US" sz="1200" dirty="0" smtClean="0"/>
              <a:t>typesetting</a:t>
            </a:r>
            <a:endParaRPr lang="en-US" sz="1200" dirty="0"/>
          </a:p>
        </p:txBody>
      </p:sp>
      <p:sp>
        <p:nvSpPr>
          <p:cNvPr id="76" name="TextBox 75"/>
          <p:cNvSpPr txBox="1"/>
          <p:nvPr/>
        </p:nvSpPr>
        <p:spPr>
          <a:xfrm>
            <a:off x="6629400" y="1963049"/>
            <a:ext cx="2040345" cy="127727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indent="-171450"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Wingdings 3" pitchFamily="18" charset="2"/>
              <a:buChar char="}"/>
            </a:pPr>
            <a:r>
              <a:rPr lang="en-US" sz="1200" b="1" dirty="0" err="1" smtClean="0"/>
              <a:t>Lorem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Ipsum</a:t>
            </a:r>
            <a:r>
              <a:rPr lang="en-US" sz="1200" dirty="0" smtClean="0"/>
              <a:t> is simply dummy text of the printing and typesetting</a:t>
            </a:r>
          </a:p>
          <a:p>
            <a:pPr marL="171450" indent="-171450"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Wingdings 3" pitchFamily="18" charset="2"/>
              <a:buChar char="}"/>
            </a:pPr>
            <a:r>
              <a:rPr lang="en-US" sz="1200" b="1" dirty="0" err="1"/>
              <a:t>Lorem</a:t>
            </a:r>
            <a:r>
              <a:rPr lang="en-US" sz="1200" b="1" dirty="0"/>
              <a:t> </a:t>
            </a:r>
            <a:r>
              <a:rPr lang="en-US" sz="1200" b="1" dirty="0" err="1"/>
              <a:t>Ipsum</a:t>
            </a:r>
            <a:r>
              <a:rPr lang="en-US" sz="1200" dirty="0"/>
              <a:t> is simply dummy text of the printing and </a:t>
            </a:r>
            <a:r>
              <a:rPr lang="en-US" sz="1200" dirty="0" smtClean="0"/>
              <a:t>typesetting</a:t>
            </a:r>
            <a:endParaRPr lang="en-US" sz="1200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NAME OF PRESENTER</a:t>
            </a:r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Box 54"/>
          <p:cNvSpPr txBox="1"/>
          <p:nvPr/>
        </p:nvSpPr>
        <p:spPr>
          <a:xfrm>
            <a:off x="3105034" y="559832"/>
            <a:ext cx="29339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dirty="0" smtClean="0">
                <a:solidFill>
                  <a:schemeClr val="bg1"/>
                </a:solidFill>
                <a:latin typeface="+mj-lt"/>
              </a:rPr>
              <a:t>FISCAL YEAR COMPARISON</a:t>
            </a:r>
          </a:p>
          <a:p>
            <a:pPr algn="ctr">
              <a:lnSpc>
                <a:spcPct val="80000"/>
              </a:lnSpc>
            </a:pPr>
            <a:r>
              <a:rPr lang="en-US" sz="1200" dirty="0" smtClean="0">
                <a:solidFill>
                  <a:schemeClr val="bg1"/>
                </a:solidFill>
                <a:latin typeface="+mj-lt"/>
              </a:rPr>
              <a:t>Replace this text</a:t>
            </a:r>
          </a:p>
        </p:txBody>
      </p:sp>
      <p:cxnSp>
        <p:nvCxnSpPr>
          <p:cNvPr id="56" name="Straight Connector 55"/>
          <p:cNvCxnSpPr/>
          <p:nvPr/>
        </p:nvCxnSpPr>
        <p:spPr>
          <a:xfrm>
            <a:off x="2921000" y="1098729"/>
            <a:ext cx="330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7" name="Chart 56"/>
          <p:cNvGraphicFramePr/>
          <p:nvPr>
            <p:extLst>
              <p:ext uri="{D42A27DB-BD31-4B8C-83A1-F6EECF244321}">
                <p14:modId xmlns:p14="http://schemas.microsoft.com/office/powerpoint/2010/main" val="1860950075"/>
              </p:ext>
            </p:extLst>
          </p:nvPr>
        </p:nvGraphicFramePr>
        <p:xfrm>
          <a:off x="0" y="1981200"/>
          <a:ext cx="5381889" cy="3587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3" name="Straight Arrow Connector 2"/>
          <p:cNvCxnSpPr>
            <a:endCxn id="68" idx="2"/>
          </p:cNvCxnSpPr>
          <p:nvPr/>
        </p:nvCxnSpPr>
        <p:spPr>
          <a:xfrm>
            <a:off x="2475378" y="2532965"/>
            <a:ext cx="3429000" cy="1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>
            <a:endCxn id="71" idx="2"/>
          </p:cNvCxnSpPr>
          <p:nvPr/>
        </p:nvCxnSpPr>
        <p:spPr>
          <a:xfrm>
            <a:off x="2127036" y="3200622"/>
            <a:ext cx="3777342" cy="1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>
            <a:endCxn id="74" idx="2"/>
          </p:cNvCxnSpPr>
          <p:nvPr/>
        </p:nvCxnSpPr>
        <p:spPr>
          <a:xfrm>
            <a:off x="1749665" y="3868279"/>
            <a:ext cx="4154713" cy="1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/>
          <p:cNvCxnSpPr>
            <a:endCxn id="125" idx="2"/>
          </p:cNvCxnSpPr>
          <p:nvPr/>
        </p:nvCxnSpPr>
        <p:spPr>
          <a:xfrm>
            <a:off x="2627778" y="4535936"/>
            <a:ext cx="3276600" cy="1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Group 66"/>
          <p:cNvGrpSpPr/>
          <p:nvPr/>
        </p:nvGrpSpPr>
        <p:grpSpPr>
          <a:xfrm>
            <a:off x="5904378" y="2209800"/>
            <a:ext cx="2325222" cy="646331"/>
            <a:chOff x="6268323" y="1991363"/>
            <a:chExt cx="2325222" cy="646331"/>
          </a:xfrm>
        </p:grpSpPr>
        <p:sp>
          <p:nvSpPr>
            <p:cNvPr id="68" name="Rectangle 67"/>
            <p:cNvSpPr/>
            <p:nvPr/>
          </p:nvSpPr>
          <p:spPr>
            <a:xfrm rot="5400000">
              <a:off x="6091888" y="2230736"/>
              <a:ext cx="520455" cy="167585"/>
            </a:xfrm>
            <a:prstGeom prst="rect">
              <a:avLst/>
            </a:prstGeom>
            <a:solidFill>
              <a:srgbClr val="2A9B18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/>
            <a:p>
              <a:pPr defTabSz="457200"/>
              <a:endParaRPr lang="en-US" sz="12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6553200" y="1991363"/>
              <a:ext cx="2040345" cy="6463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 dirty="0" err="1" smtClean="0">
                  <a:solidFill>
                    <a:schemeClr val="bg1"/>
                  </a:solidFill>
                </a:rPr>
                <a:t>Lorem</a:t>
              </a:r>
              <a:r>
                <a:rPr lang="en-US" sz="1200" b="1" dirty="0" smtClean="0">
                  <a:solidFill>
                    <a:schemeClr val="bg1"/>
                  </a:solidFill>
                </a:rPr>
                <a:t> </a:t>
              </a:r>
              <a:r>
                <a:rPr lang="en-US" sz="1200" b="1" dirty="0" err="1">
                  <a:solidFill>
                    <a:schemeClr val="bg1"/>
                  </a:solidFill>
                </a:rPr>
                <a:t>Ipsum</a:t>
              </a:r>
              <a:r>
                <a:rPr lang="en-US" sz="1200" dirty="0">
                  <a:solidFill>
                    <a:schemeClr val="bg1"/>
                  </a:solidFill>
                </a:rPr>
                <a:t> is simply dummy text of the printing and typesetting</a:t>
              </a:r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5904378" y="2877457"/>
            <a:ext cx="2325222" cy="646331"/>
            <a:chOff x="6268323" y="1991363"/>
            <a:chExt cx="2325222" cy="646331"/>
          </a:xfrm>
        </p:grpSpPr>
        <p:sp>
          <p:nvSpPr>
            <p:cNvPr id="71" name="Rectangle 70"/>
            <p:cNvSpPr/>
            <p:nvPr/>
          </p:nvSpPr>
          <p:spPr>
            <a:xfrm rot="5400000">
              <a:off x="6091888" y="2230736"/>
              <a:ext cx="520455" cy="167585"/>
            </a:xfrm>
            <a:prstGeom prst="rect">
              <a:avLst/>
            </a:prstGeom>
            <a:solidFill>
              <a:srgbClr val="F0B71F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/>
            <a:p>
              <a:pPr defTabSz="457200"/>
              <a:endParaRPr lang="en-US" sz="12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6553200" y="1991363"/>
              <a:ext cx="2040345" cy="6463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 dirty="0" err="1" smtClean="0">
                  <a:solidFill>
                    <a:schemeClr val="bg1"/>
                  </a:solidFill>
                </a:rPr>
                <a:t>Lorem</a:t>
              </a:r>
              <a:r>
                <a:rPr lang="en-US" sz="1200" b="1" dirty="0" smtClean="0">
                  <a:solidFill>
                    <a:schemeClr val="bg1"/>
                  </a:solidFill>
                </a:rPr>
                <a:t> </a:t>
              </a:r>
              <a:r>
                <a:rPr lang="en-US" sz="1200" b="1" dirty="0" err="1">
                  <a:solidFill>
                    <a:schemeClr val="bg1"/>
                  </a:solidFill>
                </a:rPr>
                <a:t>Ipsum</a:t>
              </a:r>
              <a:r>
                <a:rPr lang="en-US" sz="1200" dirty="0">
                  <a:solidFill>
                    <a:schemeClr val="bg1"/>
                  </a:solidFill>
                </a:rPr>
                <a:t> is simply dummy text of the printing and typesetting</a:t>
              </a:r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5904378" y="3545114"/>
            <a:ext cx="2325222" cy="646331"/>
            <a:chOff x="6268323" y="1991363"/>
            <a:chExt cx="2325222" cy="646331"/>
          </a:xfrm>
        </p:grpSpPr>
        <p:sp>
          <p:nvSpPr>
            <p:cNvPr id="74" name="Rectangle 73"/>
            <p:cNvSpPr/>
            <p:nvPr/>
          </p:nvSpPr>
          <p:spPr>
            <a:xfrm rot="5400000">
              <a:off x="6091888" y="2230736"/>
              <a:ext cx="520455" cy="167585"/>
            </a:xfrm>
            <a:prstGeom prst="rect">
              <a:avLst/>
            </a:prstGeom>
            <a:solidFill>
              <a:srgbClr val="CE202A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/>
            <a:p>
              <a:pPr defTabSz="457200"/>
              <a:endParaRPr lang="en-US" sz="12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3" name="TextBox 122"/>
            <p:cNvSpPr txBox="1"/>
            <p:nvPr/>
          </p:nvSpPr>
          <p:spPr>
            <a:xfrm>
              <a:off x="6553200" y="1991363"/>
              <a:ext cx="2040345" cy="6463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 dirty="0" err="1" smtClean="0">
                  <a:solidFill>
                    <a:schemeClr val="bg1"/>
                  </a:solidFill>
                </a:rPr>
                <a:t>Lorem</a:t>
              </a:r>
              <a:r>
                <a:rPr lang="en-US" sz="1200" b="1" dirty="0" smtClean="0">
                  <a:solidFill>
                    <a:schemeClr val="bg1"/>
                  </a:solidFill>
                </a:rPr>
                <a:t> </a:t>
              </a:r>
              <a:r>
                <a:rPr lang="en-US" sz="1200" b="1" dirty="0" err="1">
                  <a:solidFill>
                    <a:schemeClr val="bg1"/>
                  </a:solidFill>
                </a:rPr>
                <a:t>Ipsum</a:t>
              </a:r>
              <a:r>
                <a:rPr lang="en-US" sz="1200" dirty="0">
                  <a:solidFill>
                    <a:schemeClr val="bg1"/>
                  </a:solidFill>
                </a:rPr>
                <a:t> is simply dummy text of the printing and typesetting</a:t>
              </a:r>
            </a:p>
          </p:txBody>
        </p:sp>
      </p:grpSp>
      <p:grpSp>
        <p:nvGrpSpPr>
          <p:cNvPr id="124" name="Group 123"/>
          <p:cNvGrpSpPr/>
          <p:nvPr/>
        </p:nvGrpSpPr>
        <p:grpSpPr>
          <a:xfrm>
            <a:off x="5904378" y="4212771"/>
            <a:ext cx="2325222" cy="646331"/>
            <a:chOff x="6268323" y="1991363"/>
            <a:chExt cx="2325222" cy="646331"/>
          </a:xfrm>
        </p:grpSpPr>
        <p:sp>
          <p:nvSpPr>
            <p:cNvPr id="125" name="Rectangle 124"/>
            <p:cNvSpPr/>
            <p:nvPr/>
          </p:nvSpPr>
          <p:spPr>
            <a:xfrm rot="5400000">
              <a:off x="6091888" y="2230736"/>
              <a:ext cx="520455" cy="167585"/>
            </a:xfrm>
            <a:prstGeom prst="rect">
              <a:avLst/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/>
            <a:p>
              <a:pPr defTabSz="457200"/>
              <a:endParaRPr lang="en-US" sz="12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6" name="TextBox 125"/>
            <p:cNvSpPr txBox="1"/>
            <p:nvPr/>
          </p:nvSpPr>
          <p:spPr>
            <a:xfrm>
              <a:off x="6553200" y="1991363"/>
              <a:ext cx="2040345" cy="6463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 dirty="0" err="1" smtClean="0">
                  <a:solidFill>
                    <a:schemeClr val="bg1"/>
                  </a:solidFill>
                </a:rPr>
                <a:t>Lorem</a:t>
              </a:r>
              <a:r>
                <a:rPr lang="en-US" sz="1200" b="1" dirty="0" smtClean="0">
                  <a:solidFill>
                    <a:schemeClr val="bg1"/>
                  </a:solidFill>
                </a:rPr>
                <a:t> </a:t>
              </a:r>
              <a:r>
                <a:rPr lang="en-US" sz="1200" b="1" dirty="0" err="1">
                  <a:solidFill>
                    <a:schemeClr val="bg1"/>
                  </a:solidFill>
                </a:rPr>
                <a:t>Ipsum</a:t>
              </a:r>
              <a:r>
                <a:rPr lang="en-US" sz="1200" dirty="0">
                  <a:solidFill>
                    <a:schemeClr val="bg1"/>
                  </a:solidFill>
                </a:rPr>
                <a:t> is simply dummy text of the printing and typesetting</a:t>
              </a:r>
            </a:p>
          </p:txBody>
        </p:sp>
      </p:grpSp>
      <p:sp>
        <p:nvSpPr>
          <p:cNvPr id="18" name="Oval 17"/>
          <p:cNvSpPr/>
          <p:nvPr/>
        </p:nvSpPr>
        <p:spPr>
          <a:xfrm>
            <a:off x="1709237" y="3738165"/>
            <a:ext cx="260228" cy="260228"/>
          </a:xfrm>
          <a:prstGeom prst="ellipse">
            <a:avLst/>
          </a:prstGeom>
          <a:solidFill>
            <a:schemeClr val="bg1">
              <a:lumMod val="75000"/>
            </a:schemeClr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Oval 126"/>
          <p:cNvSpPr/>
          <p:nvPr/>
        </p:nvSpPr>
        <p:spPr>
          <a:xfrm>
            <a:off x="2493008" y="4405822"/>
            <a:ext cx="260228" cy="260228"/>
          </a:xfrm>
          <a:prstGeom prst="ellipse">
            <a:avLst/>
          </a:prstGeom>
          <a:solidFill>
            <a:schemeClr val="bg1">
              <a:lumMod val="75000"/>
            </a:schemeClr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Oval 127"/>
          <p:cNvSpPr/>
          <p:nvPr/>
        </p:nvSpPr>
        <p:spPr>
          <a:xfrm>
            <a:off x="1985008" y="3055994"/>
            <a:ext cx="260228" cy="260228"/>
          </a:xfrm>
          <a:prstGeom prst="ellipse">
            <a:avLst/>
          </a:prstGeom>
          <a:solidFill>
            <a:schemeClr val="bg1">
              <a:lumMod val="75000"/>
            </a:schemeClr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Oval 128"/>
          <p:cNvSpPr/>
          <p:nvPr/>
        </p:nvSpPr>
        <p:spPr>
          <a:xfrm>
            <a:off x="2333351" y="2402852"/>
            <a:ext cx="260228" cy="260228"/>
          </a:xfrm>
          <a:prstGeom prst="ellipse">
            <a:avLst/>
          </a:prstGeom>
          <a:solidFill>
            <a:schemeClr val="bg1">
              <a:lumMod val="75000"/>
            </a:schemeClr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NAME OF PRESENTER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3</a:t>
            </a:fld>
            <a:r>
              <a:rPr lang="en-US" smtClean="0"/>
              <a:t> 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09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>
          <a:xfrm>
            <a:off x="4572000" y="1600200"/>
            <a:ext cx="3581400" cy="4114800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3" name="Rektangel 5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6481" y="1600200"/>
            <a:ext cx="3572436" cy="4114800"/>
          </a:xfrm>
          <a:custGeom>
            <a:avLst/>
            <a:gdLst>
              <a:gd name="connsiteX0" fmla="*/ 0 w 521528"/>
              <a:gd name="connsiteY0" fmla="*/ 0 h 469375"/>
              <a:gd name="connsiteX1" fmla="*/ 521528 w 521528"/>
              <a:gd name="connsiteY1" fmla="*/ 0 h 469375"/>
              <a:gd name="connsiteX2" fmla="*/ 521528 w 521528"/>
              <a:gd name="connsiteY2" fmla="*/ 469375 h 469375"/>
              <a:gd name="connsiteX3" fmla="*/ 0 w 521528"/>
              <a:gd name="connsiteY3" fmla="*/ 469375 h 469375"/>
              <a:gd name="connsiteX4" fmla="*/ 0 w 521528"/>
              <a:gd name="connsiteY4" fmla="*/ 0 h 469375"/>
              <a:gd name="connsiteX0" fmla="*/ 0 w 521528"/>
              <a:gd name="connsiteY0" fmla="*/ 0 h 469375"/>
              <a:gd name="connsiteX1" fmla="*/ 521528 w 521528"/>
              <a:gd name="connsiteY1" fmla="*/ 0 h 469375"/>
              <a:gd name="connsiteX2" fmla="*/ 0 w 521528"/>
              <a:gd name="connsiteY2" fmla="*/ 469375 h 469375"/>
              <a:gd name="connsiteX3" fmla="*/ 0 w 521528"/>
              <a:gd name="connsiteY3" fmla="*/ 0 h 46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528" h="469375">
                <a:moveTo>
                  <a:pt x="0" y="0"/>
                </a:moveTo>
                <a:lnTo>
                  <a:pt x="521528" y="0"/>
                </a:lnTo>
                <a:lnTo>
                  <a:pt x="0" y="46937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nb-NO"/>
          </a:p>
        </p:txBody>
      </p:sp>
      <p:sp>
        <p:nvSpPr>
          <p:cNvPr id="7" name="Rectangle 6"/>
          <p:cNvSpPr/>
          <p:nvPr/>
        </p:nvSpPr>
        <p:spPr>
          <a:xfrm>
            <a:off x="990600" y="1600200"/>
            <a:ext cx="3581400" cy="4114800"/>
          </a:xfrm>
          <a:prstGeom prst="rect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endParaRPr lang="en-US" sz="1200">
              <a:latin typeface="+mj-lt"/>
            </a:endParaRPr>
          </a:p>
        </p:txBody>
      </p:sp>
      <p:sp>
        <p:nvSpPr>
          <p:cNvPr id="71" name="Rektangel 5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99564" y="1600200"/>
            <a:ext cx="3572436" cy="4114800"/>
          </a:xfrm>
          <a:custGeom>
            <a:avLst/>
            <a:gdLst>
              <a:gd name="connsiteX0" fmla="*/ 0 w 521528"/>
              <a:gd name="connsiteY0" fmla="*/ 0 h 469375"/>
              <a:gd name="connsiteX1" fmla="*/ 521528 w 521528"/>
              <a:gd name="connsiteY1" fmla="*/ 0 h 469375"/>
              <a:gd name="connsiteX2" fmla="*/ 521528 w 521528"/>
              <a:gd name="connsiteY2" fmla="*/ 469375 h 469375"/>
              <a:gd name="connsiteX3" fmla="*/ 0 w 521528"/>
              <a:gd name="connsiteY3" fmla="*/ 469375 h 469375"/>
              <a:gd name="connsiteX4" fmla="*/ 0 w 521528"/>
              <a:gd name="connsiteY4" fmla="*/ 0 h 469375"/>
              <a:gd name="connsiteX0" fmla="*/ 0 w 521528"/>
              <a:gd name="connsiteY0" fmla="*/ 0 h 469375"/>
              <a:gd name="connsiteX1" fmla="*/ 521528 w 521528"/>
              <a:gd name="connsiteY1" fmla="*/ 0 h 469375"/>
              <a:gd name="connsiteX2" fmla="*/ 0 w 521528"/>
              <a:gd name="connsiteY2" fmla="*/ 469375 h 469375"/>
              <a:gd name="connsiteX3" fmla="*/ 0 w 521528"/>
              <a:gd name="connsiteY3" fmla="*/ 0 h 46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1528" h="469375">
                <a:moveTo>
                  <a:pt x="0" y="0"/>
                </a:moveTo>
                <a:lnTo>
                  <a:pt x="521528" y="0"/>
                </a:lnTo>
                <a:lnTo>
                  <a:pt x="0" y="46937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nb-NO"/>
          </a:p>
        </p:txBody>
      </p:sp>
      <p:sp>
        <p:nvSpPr>
          <p:cNvPr id="65" name="Rectangle 64"/>
          <p:cNvSpPr/>
          <p:nvPr/>
        </p:nvSpPr>
        <p:spPr>
          <a:xfrm>
            <a:off x="5042167" y="4648200"/>
            <a:ext cx="2555421" cy="914400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9" name="Slide Number Placeholder 8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4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27" name="TextBox 26"/>
          <p:cNvSpPr txBox="1"/>
          <p:nvPr/>
        </p:nvSpPr>
        <p:spPr>
          <a:xfrm>
            <a:off x="3105034" y="559832"/>
            <a:ext cx="29339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dirty="0" smtClean="0">
                <a:latin typeface="+mj-lt"/>
              </a:rPr>
              <a:t>FISCAL YEAR COMPARISON</a:t>
            </a:r>
          </a:p>
          <a:p>
            <a:pPr algn="ctr">
              <a:lnSpc>
                <a:spcPct val="80000"/>
              </a:lnSpc>
            </a:pPr>
            <a:r>
              <a:rPr lang="en-US" sz="1200" dirty="0" smtClean="0">
                <a:latin typeface="+mj-lt"/>
              </a:rPr>
              <a:t>Replace this text</a:t>
            </a:r>
          </a:p>
        </p:txBody>
      </p:sp>
      <p:cxnSp>
        <p:nvCxnSpPr>
          <p:cNvPr id="28" name="Straight Connector 27"/>
          <p:cNvCxnSpPr/>
          <p:nvPr/>
        </p:nvCxnSpPr>
        <p:spPr>
          <a:xfrm>
            <a:off x="2921000" y="1098729"/>
            <a:ext cx="33020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572000" y="1600200"/>
            <a:ext cx="0" cy="41148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Oval 52"/>
          <p:cNvSpPr/>
          <p:nvPr/>
        </p:nvSpPr>
        <p:spPr>
          <a:xfrm>
            <a:off x="4913298" y="4495800"/>
            <a:ext cx="304800" cy="304800"/>
          </a:xfrm>
          <a:prstGeom prst="ellipse">
            <a:avLst/>
          </a:prstGeom>
          <a:solidFill>
            <a:srgbClr val="CE202A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</a:rPr>
              <a:t>2</a:t>
            </a:r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1582910" y="1636414"/>
            <a:ext cx="6019800" cy="2846345"/>
            <a:chOff x="1219200" y="1325443"/>
            <a:chExt cx="6677479" cy="3157316"/>
          </a:xfrm>
        </p:grpSpPr>
        <p:grpSp>
          <p:nvGrpSpPr>
            <p:cNvPr id="6" name="Group 5"/>
            <p:cNvGrpSpPr/>
            <p:nvPr/>
          </p:nvGrpSpPr>
          <p:grpSpPr>
            <a:xfrm>
              <a:off x="1219200" y="1981200"/>
              <a:ext cx="3124200" cy="2501559"/>
              <a:chOff x="304800" y="1828800"/>
              <a:chExt cx="4267200" cy="3416763"/>
            </a:xfrm>
          </p:grpSpPr>
          <p:graphicFrame>
            <p:nvGraphicFramePr>
              <p:cNvPr id="29" name="Chart 28"/>
              <p:cNvGraphicFramePr/>
              <p:nvPr>
                <p:extLst>
                  <p:ext uri="{D42A27DB-BD31-4B8C-83A1-F6EECF244321}">
                    <p14:modId xmlns:p14="http://schemas.microsoft.com/office/powerpoint/2010/main" val="1218630981"/>
                  </p:ext>
                </p:extLst>
              </p:nvPr>
            </p:nvGraphicFramePr>
            <p:xfrm>
              <a:off x="304800" y="2362200"/>
              <a:ext cx="4227224" cy="2883363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  <p:cxnSp>
            <p:nvCxnSpPr>
              <p:cNvPr id="4" name="Elbow Connector 3"/>
              <p:cNvCxnSpPr/>
              <p:nvPr/>
            </p:nvCxnSpPr>
            <p:spPr>
              <a:xfrm>
                <a:off x="457200" y="1828800"/>
                <a:ext cx="4114800" cy="3048000"/>
              </a:xfrm>
              <a:prstGeom prst="bentConnector3">
                <a:avLst>
                  <a:gd name="adj1" fmla="val -88"/>
                </a:avLst>
              </a:prstGeom>
              <a:ln w="38100">
                <a:solidFill>
                  <a:schemeClr val="tx1">
                    <a:lumMod val="50000"/>
                    <a:lumOff val="50000"/>
                  </a:schemeClr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33"/>
            <p:cNvGrpSpPr/>
            <p:nvPr/>
          </p:nvGrpSpPr>
          <p:grpSpPr>
            <a:xfrm>
              <a:off x="4772479" y="1981200"/>
              <a:ext cx="3124200" cy="2501559"/>
              <a:chOff x="304800" y="1828800"/>
              <a:chExt cx="4267200" cy="3416764"/>
            </a:xfrm>
          </p:grpSpPr>
          <p:graphicFrame>
            <p:nvGraphicFramePr>
              <p:cNvPr id="35" name="Chart 34"/>
              <p:cNvGraphicFramePr/>
              <p:nvPr>
                <p:extLst>
                  <p:ext uri="{D42A27DB-BD31-4B8C-83A1-F6EECF244321}">
                    <p14:modId xmlns:p14="http://schemas.microsoft.com/office/powerpoint/2010/main" val="3387361448"/>
                  </p:ext>
                </p:extLst>
              </p:nvPr>
            </p:nvGraphicFramePr>
            <p:xfrm>
              <a:off x="304800" y="2362200"/>
              <a:ext cx="4227224" cy="288336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6"/>
              </a:graphicData>
            </a:graphic>
          </p:graphicFrame>
          <p:cxnSp>
            <p:nvCxnSpPr>
              <p:cNvPr id="36" name="Elbow Connector 35"/>
              <p:cNvCxnSpPr/>
              <p:nvPr/>
            </p:nvCxnSpPr>
            <p:spPr>
              <a:xfrm>
                <a:off x="457200" y="1828800"/>
                <a:ext cx="4114800" cy="3048000"/>
              </a:xfrm>
              <a:prstGeom prst="bentConnector3">
                <a:avLst>
                  <a:gd name="adj1" fmla="val -88"/>
                </a:avLst>
              </a:prstGeom>
              <a:ln w="38100">
                <a:solidFill>
                  <a:schemeClr val="tx1">
                    <a:lumMod val="50000"/>
                    <a:lumOff val="50000"/>
                  </a:schemeClr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4" name="Freeform 12"/>
            <p:cNvSpPr>
              <a:spLocks/>
            </p:cNvSpPr>
            <p:nvPr/>
          </p:nvSpPr>
          <p:spPr bwMode="auto">
            <a:xfrm>
              <a:off x="1399613" y="1653085"/>
              <a:ext cx="2183372" cy="1528088"/>
            </a:xfrm>
            <a:custGeom>
              <a:avLst/>
              <a:gdLst>
                <a:gd name="T0" fmla="*/ 3597 w 4818"/>
                <a:gd name="T1" fmla="*/ 609 h 3371"/>
                <a:gd name="T2" fmla="*/ 3800 w 4818"/>
                <a:gd name="T3" fmla="*/ 523 h 3371"/>
                <a:gd name="T4" fmla="*/ 4000 w 4818"/>
                <a:gd name="T5" fmla="*/ 418 h 3371"/>
                <a:gd name="T6" fmla="*/ 4195 w 4818"/>
                <a:gd name="T7" fmla="*/ 296 h 3371"/>
                <a:gd name="T8" fmla="*/ 4386 w 4818"/>
                <a:gd name="T9" fmla="*/ 156 h 3371"/>
                <a:gd name="T10" fmla="*/ 4569 w 4818"/>
                <a:gd name="T11" fmla="*/ 0 h 3371"/>
                <a:gd name="T12" fmla="*/ 4619 w 4818"/>
                <a:gd name="T13" fmla="*/ 156 h 3371"/>
                <a:gd name="T14" fmla="*/ 4682 w 4818"/>
                <a:gd name="T15" fmla="*/ 399 h 3371"/>
                <a:gd name="T16" fmla="*/ 4736 w 4818"/>
                <a:gd name="T17" fmla="*/ 651 h 3371"/>
                <a:gd name="T18" fmla="*/ 4776 w 4818"/>
                <a:gd name="T19" fmla="*/ 909 h 3371"/>
                <a:gd name="T20" fmla="*/ 4806 w 4818"/>
                <a:gd name="T21" fmla="*/ 1176 h 3371"/>
                <a:gd name="T22" fmla="*/ 4818 w 4818"/>
                <a:gd name="T23" fmla="*/ 1358 h 3371"/>
                <a:gd name="T24" fmla="*/ 4436 w 4818"/>
                <a:gd name="T25" fmla="*/ 1241 h 3371"/>
                <a:gd name="T26" fmla="*/ 4293 w 4818"/>
                <a:gd name="T27" fmla="*/ 1455 h 3371"/>
                <a:gd name="T28" fmla="*/ 4140 w 4818"/>
                <a:gd name="T29" fmla="*/ 1660 h 3371"/>
                <a:gd name="T30" fmla="*/ 3976 w 4818"/>
                <a:gd name="T31" fmla="*/ 1853 h 3371"/>
                <a:gd name="T32" fmla="*/ 3804 w 4818"/>
                <a:gd name="T33" fmla="*/ 2034 h 3371"/>
                <a:gd name="T34" fmla="*/ 3624 w 4818"/>
                <a:gd name="T35" fmla="*/ 2206 h 3371"/>
                <a:gd name="T36" fmla="*/ 3435 w 4818"/>
                <a:gd name="T37" fmla="*/ 2366 h 3371"/>
                <a:gd name="T38" fmla="*/ 3239 w 4818"/>
                <a:gd name="T39" fmla="*/ 2517 h 3371"/>
                <a:gd name="T40" fmla="*/ 3036 w 4818"/>
                <a:gd name="T41" fmla="*/ 2655 h 3371"/>
                <a:gd name="T42" fmla="*/ 2826 w 4818"/>
                <a:gd name="T43" fmla="*/ 2783 h 3371"/>
                <a:gd name="T44" fmla="*/ 2610 w 4818"/>
                <a:gd name="T45" fmla="*/ 2897 h 3371"/>
                <a:gd name="T46" fmla="*/ 2391 w 4818"/>
                <a:gd name="T47" fmla="*/ 3001 h 3371"/>
                <a:gd name="T48" fmla="*/ 2163 w 4818"/>
                <a:gd name="T49" fmla="*/ 3090 h 3371"/>
                <a:gd name="T50" fmla="*/ 1934 w 4818"/>
                <a:gd name="T51" fmla="*/ 3171 h 3371"/>
                <a:gd name="T52" fmla="*/ 1699 w 4818"/>
                <a:gd name="T53" fmla="*/ 3236 h 3371"/>
                <a:gd name="T54" fmla="*/ 1463 w 4818"/>
                <a:gd name="T55" fmla="*/ 3289 h 3371"/>
                <a:gd name="T56" fmla="*/ 1224 w 4818"/>
                <a:gd name="T57" fmla="*/ 3329 h 3371"/>
                <a:gd name="T58" fmla="*/ 981 w 4818"/>
                <a:gd name="T59" fmla="*/ 3356 h 3371"/>
                <a:gd name="T60" fmla="*/ 737 w 4818"/>
                <a:gd name="T61" fmla="*/ 3369 h 3371"/>
                <a:gd name="T62" fmla="*/ 493 w 4818"/>
                <a:gd name="T63" fmla="*/ 3369 h 3371"/>
                <a:gd name="T64" fmla="*/ 246 w 4818"/>
                <a:gd name="T65" fmla="*/ 3354 h 3371"/>
                <a:gd name="T66" fmla="*/ 0 w 4818"/>
                <a:gd name="T67" fmla="*/ 3325 h 3371"/>
                <a:gd name="T68" fmla="*/ 166 w 4818"/>
                <a:gd name="T69" fmla="*/ 3320 h 3371"/>
                <a:gd name="T70" fmla="*/ 411 w 4818"/>
                <a:gd name="T71" fmla="*/ 3299 h 3371"/>
                <a:gd name="T72" fmla="*/ 649 w 4818"/>
                <a:gd name="T73" fmla="*/ 3264 h 3371"/>
                <a:gd name="T74" fmla="*/ 882 w 4818"/>
                <a:gd name="T75" fmla="*/ 3218 h 3371"/>
                <a:gd name="T76" fmla="*/ 1111 w 4818"/>
                <a:gd name="T77" fmla="*/ 3161 h 3371"/>
                <a:gd name="T78" fmla="*/ 1335 w 4818"/>
                <a:gd name="T79" fmla="*/ 3092 h 3371"/>
                <a:gd name="T80" fmla="*/ 1552 w 4818"/>
                <a:gd name="T81" fmla="*/ 3012 h 3371"/>
                <a:gd name="T82" fmla="*/ 1762 w 4818"/>
                <a:gd name="T83" fmla="*/ 2920 h 3371"/>
                <a:gd name="T84" fmla="*/ 1967 w 4818"/>
                <a:gd name="T85" fmla="*/ 2819 h 3371"/>
                <a:gd name="T86" fmla="*/ 2165 w 4818"/>
                <a:gd name="T87" fmla="*/ 2708 h 3371"/>
                <a:gd name="T88" fmla="*/ 2356 w 4818"/>
                <a:gd name="T89" fmla="*/ 2588 h 3371"/>
                <a:gd name="T90" fmla="*/ 2538 w 4818"/>
                <a:gd name="T91" fmla="*/ 2460 h 3371"/>
                <a:gd name="T92" fmla="*/ 2713 w 4818"/>
                <a:gd name="T93" fmla="*/ 2321 h 3371"/>
                <a:gd name="T94" fmla="*/ 2881 w 4818"/>
                <a:gd name="T95" fmla="*/ 2175 h 3371"/>
                <a:gd name="T96" fmla="*/ 3040 w 4818"/>
                <a:gd name="T97" fmla="*/ 2021 h 3371"/>
                <a:gd name="T98" fmla="*/ 3191 w 4818"/>
                <a:gd name="T99" fmla="*/ 1860 h 3371"/>
                <a:gd name="T100" fmla="*/ 3332 w 4818"/>
                <a:gd name="T101" fmla="*/ 1690 h 3371"/>
                <a:gd name="T102" fmla="*/ 3464 w 4818"/>
                <a:gd name="T103" fmla="*/ 1516 h 3371"/>
                <a:gd name="T104" fmla="*/ 3588 w 4818"/>
                <a:gd name="T105" fmla="*/ 1335 h 3371"/>
                <a:gd name="T106" fmla="*/ 3701 w 4818"/>
                <a:gd name="T107" fmla="*/ 1148 h 3371"/>
                <a:gd name="T108" fmla="*/ 3804 w 4818"/>
                <a:gd name="T109" fmla="*/ 955 h 3371"/>
                <a:gd name="T110" fmla="*/ 3867 w 4818"/>
                <a:gd name="T111" fmla="*/ 823 h 3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818" h="3371">
                  <a:moveTo>
                    <a:pt x="3529" y="634"/>
                  </a:moveTo>
                  <a:lnTo>
                    <a:pt x="3529" y="634"/>
                  </a:lnTo>
                  <a:lnTo>
                    <a:pt x="3597" y="609"/>
                  </a:lnTo>
                  <a:lnTo>
                    <a:pt x="3664" y="582"/>
                  </a:lnTo>
                  <a:lnTo>
                    <a:pt x="3733" y="554"/>
                  </a:lnTo>
                  <a:lnTo>
                    <a:pt x="3800" y="523"/>
                  </a:lnTo>
                  <a:lnTo>
                    <a:pt x="3867" y="489"/>
                  </a:lnTo>
                  <a:lnTo>
                    <a:pt x="3934" y="454"/>
                  </a:lnTo>
                  <a:lnTo>
                    <a:pt x="4000" y="418"/>
                  </a:lnTo>
                  <a:lnTo>
                    <a:pt x="4065" y="380"/>
                  </a:lnTo>
                  <a:lnTo>
                    <a:pt x="4130" y="340"/>
                  </a:lnTo>
                  <a:lnTo>
                    <a:pt x="4195" y="296"/>
                  </a:lnTo>
                  <a:lnTo>
                    <a:pt x="4260" y="252"/>
                  </a:lnTo>
                  <a:lnTo>
                    <a:pt x="4323" y="206"/>
                  </a:lnTo>
                  <a:lnTo>
                    <a:pt x="4386" y="156"/>
                  </a:lnTo>
                  <a:lnTo>
                    <a:pt x="4447" y="107"/>
                  </a:lnTo>
                  <a:lnTo>
                    <a:pt x="4510" y="53"/>
                  </a:lnTo>
                  <a:lnTo>
                    <a:pt x="4569" y="0"/>
                  </a:lnTo>
                  <a:lnTo>
                    <a:pt x="4569" y="0"/>
                  </a:lnTo>
                  <a:lnTo>
                    <a:pt x="4594" y="78"/>
                  </a:lnTo>
                  <a:lnTo>
                    <a:pt x="4619" y="156"/>
                  </a:lnTo>
                  <a:lnTo>
                    <a:pt x="4640" y="237"/>
                  </a:lnTo>
                  <a:lnTo>
                    <a:pt x="4663" y="317"/>
                  </a:lnTo>
                  <a:lnTo>
                    <a:pt x="4682" y="399"/>
                  </a:lnTo>
                  <a:lnTo>
                    <a:pt x="4701" y="481"/>
                  </a:lnTo>
                  <a:lnTo>
                    <a:pt x="4718" y="565"/>
                  </a:lnTo>
                  <a:lnTo>
                    <a:pt x="4736" y="651"/>
                  </a:lnTo>
                  <a:lnTo>
                    <a:pt x="4751" y="735"/>
                  </a:lnTo>
                  <a:lnTo>
                    <a:pt x="4764" y="823"/>
                  </a:lnTo>
                  <a:lnTo>
                    <a:pt x="4776" y="909"/>
                  </a:lnTo>
                  <a:lnTo>
                    <a:pt x="4787" y="997"/>
                  </a:lnTo>
                  <a:lnTo>
                    <a:pt x="4797" y="1087"/>
                  </a:lnTo>
                  <a:lnTo>
                    <a:pt x="4806" y="1176"/>
                  </a:lnTo>
                  <a:lnTo>
                    <a:pt x="4812" y="1266"/>
                  </a:lnTo>
                  <a:lnTo>
                    <a:pt x="4818" y="1358"/>
                  </a:lnTo>
                  <a:lnTo>
                    <a:pt x="4818" y="1358"/>
                  </a:lnTo>
                  <a:lnTo>
                    <a:pt x="4480" y="1169"/>
                  </a:lnTo>
                  <a:lnTo>
                    <a:pt x="4480" y="1169"/>
                  </a:lnTo>
                  <a:lnTo>
                    <a:pt x="4436" y="1241"/>
                  </a:lnTo>
                  <a:lnTo>
                    <a:pt x="4388" y="1314"/>
                  </a:lnTo>
                  <a:lnTo>
                    <a:pt x="4340" y="1385"/>
                  </a:lnTo>
                  <a:lnTo>
                    <a:pt x="4293" y="1455"/>
                  </a:lnTo>
                  <a:lnTo>
                    <a:pt x="4243" y="1524"/>
                  </a:lnTo>
                  <a:lnTo>
                    <a:pt x="4191" y="1593"/>
                  </a:lnTo>
                  <a:lnTo>
                    <a:pt x="4140" y="1660"/>
                  </a:lnTo>
                  <a:lnTo>
                    <a:pt x="4086" y="1725"/>
                  </a:lnTo>
                  <a:lnTo>
                    <a:pt x="4031" y="1790"/>
                  </a:lnTo>
                  <a:lnTo>
                    <a:pt x="3976" y="1853"/>
                  </a:lnTo>
                  <a:lnTo>
                    <a:pt x="3920" y="1914"/>
                  </a:lnTo>
                  <a:lnTo>
                    <a:pt x="3863" y="1975"/>
                  </a:lnTo>
                  <a:lnTo>
                    <a:pt x="3804" y="2034"/>
                  </a:lnTo>
                  <a:lnTo>
                    <a:pt x="3745" y="2093"/>
                  </a:lnTo>
                  <a:lnTo>
                    <a:pt x="3685" y="2151"/>
                  </a:lnTo>
                  <a:lnTo>
                    <a:pt x="3624" y="2206"/>
                  </a:lnTo>
                  <a:lnTo>
                    <a:pt x="3561" y="2261"/>
                  </a:lnTo>
                  <a:lnTo>
                    <a:pt x="3498" y="2315"/>
                  </a:lnTo>
                  <a:lnTo>
                    <a:pt x="3435" y="2366"/>
                  </a:lnTo>
                  <a:lnTo>
                    <a:pt x="3370" y="2418"/>
                  </a:lnTo>
                  <a:lnTo>
                    <a:pt x="3305" y="2468"/>
                  </a:lnTo>
                  <a:lnTo>
                    <a:pt x="3239" y="2517"/>
                  </a:lnTo>
                  <a:lnTo>
                    <a:pt x="3172" y="2565"/>
                  </a:lnTo>
                  <a:lnTo>
                    <a:pt x="3105" y="2611"/>
                  </a:lnTo>
                  <a:lnTo>
                    <a:pt x="3036" y="2655"/>
                  </a:lnTo>
                  <a:lnTo>
                    <a:pt x="2967" y="2699"/>
                  </a:lnTo>
                  <a:lnTo>
                    <a:pt x="2897" y="2741"/>
                  </a:lnTo>
                  <a:lnTo>
                    <a:pt x="2826" y="2783"/>
                  </a:lnTo>
                  <a:lnTo>
                    <a:pt x="2755" y="2821"/>
                  </a:lnTo>
                  <a:lnTo>
                    <a:pt x="2683" y="2861"/>
                  </a:lnTo>
                  <a:lnTo>
                    <a:pt x="2610" y="2897"/>
                  </a:lnTo>
                  <a:lnTo>
                    <a:pt x="2538" y="2934"/>
                  </a:lnTo>
                  <a:lnTo>
                    <a:pt x="2465" y="2968"/>
                  </a:lnTo>
                  <a:lnTo>
                    <a:pt x="2391" y="3001"/>
                  </a:lnTo>
                  <a:lnTo>
                    <a:pt x="2316" y="3031"/>
                  </a:lnTo>
                  <a:lnTo>
                    <a:pt x="2240" y="3062"/>
                  </a:lnTo>
                  <a:lnTo>
                    <a:pt x="2163" y="3090"/>
                  </a:lnTo>
                  <a:lnTo>
                    <a:pt x="2089" y="3119"/>
                  </a:lnTo>
                  <a:lnTo>
                    <a:pt x="2011" y="3146"/>
                  </a:lnTo>
                  <a:lnTo>
                    <a:pt x="1934" y="3171"/>
                  </a:lnTo>
                  <a:lnTo>
                    <a:pt x="1856" y="3194"/>
                  </a:lnTo>
                  <a:lnTo>
                    <a:pt x="1780" y="3215"/>
                  </a:lnTo>
                  <a:lnTo>
                    <a:pt x="1699" y="3236"/>
                  </a:lnTo>
                  <a:lnTo>
                    <a:pt x="1621" y="3255"/>
                  </a:lnTo>
                  <a:lnTo>
                    <a:pt x="1543" y="3272"/>
                  </a:lnTo>
                  <a:lnTo>
                    <a:pt x="1463" y="3289"/>
                  </a:lnTo>
                  <a:lnTo>
                    <a:pt x="1382" y="3304"/>
                  </a:lnTo>
                  <a:lnTo>
                    <a:pt x="1304" y="3318"/>
                  </a:lnTo>
                  <a:lnTo>
                    <a:pt x="1224" y="3329"/>
                  </a:lnTo>
                  <a:lnTo>
                    <a:pt x="1142" y="3339"/>
                  </a:lnTo>
                  <a:lnTo>
                    <a:pt x="1062" y="3348"/>
                  </a:lnTo>
                  <a:lnTo>
                    <a:pt x="981" y="3356"/>
                  </a:lnTo>
                  <a:lnTo>
                    <a:pt x="899" y="3362"/>
                  </a:lnTo>
                  <a:lnTo>
                    <a:pt x="819" y="3365"/>
                  </a:lnTo>
                  <a:lnTo>
                    <a:pt x="737" y="3369"/>
                  </a:lnTo>
                  <a:lnTo>
                    <a:pt x="655" y="3371"/>
                  </a:lnTo>
                  <a:lnTo>
                    <a:pt x="573" y="3369"/>
                  </a:lnTo>
                  <a:lnTo>
                    <a:pt x="493" y="3369"/>
                  </a:lnTo>
                  <a:lnTo>
                    <a:pt x="411" y="3365"/>
                  </a:lnTo>
                  <a:lnTo>
                    <a:pt x="328" y="3360"/>
                  </a:lnTo>
                  <a:lnTo>
                    <a:pt x="246" y="3354"/>
                  </a:lnTo>
                  <a:lnTo>
                    <a:pt x="164" y="3346"/>
                  </a:lnTo>
                  <a:lnTo>
                    <a:pt x="82" y="3337"/>
                  </a:lnTo>
                  <a:lnTo>
                    <a:pt x="0" y="3325"/>
                  </a:lnTo>
                  <a:lnTo>
                    <a:pt x="0" y="3325"/>
                  </a:lnTo>
                  <a:lnTo>
                    <a:pt x="84" y="3323"/>
                  </a:lnTo>
                  <a:lnTo>
                    <a:pt x="166" y="3320"/>
                  </a:lnTo>
                  <a:lnTo>
                    <a:pt x="248" y="3314"/>
                  </a:lnTo>
                  <a:lnTo>
                    <a:pt x="328" y="3306"/>
                  </a:lnTo>
                  <a:lnTo>
                    <a:pt x="411" y="3299"/>
                  </a:lnTo>
                  <a:lnTo>
                    <a:pt x="491" y="3289"/>
                  </a:lnTo>
                  <a:lnTo>
                    <a:pt x="569" y="3278"/>
                  </a:lnTo>
                  <a:lnTo>
                    <a:pt x="649" y="3264"/>
                  </a:lnTo>
                  <a:lnTo>
                    <a:pt x="728" y="3251"/>
                  </a:lnTo>
                  <a:lnTo>
                    <a:pt x="806" y="3236"/>
                  </a:lnTo>
                  <a:lnTo>
                    <a:pt x="882" y="3218"/>
                  </a:lnTo>
                  <a:lnTo>
                    <a:pt x="960" y="3201"/>
                  </a:lnTo>
                  <a:lnTo>
                    <a:pt x="1037" y="3182"/>
                  </a:lnTo>
                  <a:lnTo>
                    <a:pt x="1111" y="3161"/>
                  </a:lnTo>
                  <a:lnTo>
                    <a:pt x="1188" y="3140"/>
                  </a:lnTo>
                  <a:lnTo>
                    <a:pt x="1262" y="3115"/>
                  </a:lnTo>
                  <a:lnTo>
                    <a:pt x="1335" y="3092"/>
                  </a:lnTo>
                  <a:lnTo>
                    <a:pt x="1407" y="3066"/>
                  </a:lnTo>
                  <a:lnTo>
                    <a:pt x="1480" y="3039"/>
                  </a:lnTo>
                  <a:lnTo>
                    <a:pt x="1552" y="3012"/>
                  </a:lnTo>
                  <a:lnTo>
                    <a:pt x="1623" y="2983"/>
                  </a:lnTo>
                  <a:lnTo>
                    <a:pt x="1694" y="2953"/>
                  </a:lnTo>
                  <a:lnTo>
                    <a:pt x="1762" y="2920"/>
                  </a:lnTo>
                  <a:lnTo>
                    <a:pt x="1831" y="2888"/>
                  </a:lnTo>
                  <a:lnTo>
                    <a:pt x="1900" y="2855"/>
                  </a:lnTo>
                  <a:lnTo>
                    <a:pt x="1967" y="2819"/>
                  </a:lnTo>
                  <a:lnTo>
                    <a:pt x="2034" y="2785"/>
                  </a:lnTo>
                  <a:lnTo>
                    <a:pt x="2100" y="2747"/>
                  </a:lnTo>
                  <a:lnTo>
                    <a:pt x="2165" y="2708"/>
                  </a:lnTo>
                  <a:lnTo>
                    <a:pt x="2230" y="2670"/>
                  </a:lnTo>
                  <a:lnTo>
                    <a:pt x="2293" y="2630"/>
                  </a:lnTo>
                  <a:lnTo>
                    <a:pt x="2356" y="2588"/>
                  </a:lnTo>
                  <a:lnTo>
                    <a:pt x="2417" y="2546"/>
                  </a:lnTo>
                  <a:lnTo>
                    <a:pt x="2479" y="2504"/>
                  </a:lnTo>
                  <a:lnTo>
                    <a:pt x="2538" y="2460"/>
                  </a:lnTo>
                  <a:lnTo>
                    <a:pt x="2599" y="2414"/>
                  </a:lnTo>
                  <a:lnTo>
                    <a:pt x="2656" y="2368"/>
                  </a:lnTo>
                  <a:lnTo>
                    <a:pt x="2713" y="2321"/>
                  </a:lnTo>
                  <a:lnTo>
                    <a:pt x="2771" y="2273"/>
                  </a:lnTo>
                  <a:lnTo>
                    <a:pt x="2826" y="2225"/>
                  </a:lnTo>
                  <a:lnTo>
                    <a:pt x="2881" y="2175"/>
                  </a:lnTo>
                  <a:lnTo>
                    <a:pt x="2935" y="2124"/>
                  </a:lnTo>
                  <a:lnTo>
                    <a:pt x="2988" y="2074"/>
                  </a:lnTo>
                  <a:lnTo>
                    <a:pt x="3040" y="2021"/>
                  </a:lnTo>
                  <a:lnTo>
                    <a:pt x="3091" y="1967"/>
                  </a:lnTo>
                  <a:lnTo>
                    <a:pt x="3141" y="1914"/>
                  </a:lnTo>
                  <a:lnTo>
                    <a:pt x="3191" y="1860"/>
                  </a:lnTo>
                  <a:lnTo>
                    <a:pt x="3239" y="1805"/>
                  </a:lnTo>
                  <a:lnTo>
                    <a:pt x="3286" y="1748"/>
                  </a:lnTo>
                  <a:lnTo>
                    <a:pt x="3332" y="1690"/>
                  </a:lnTo>
                  <a:lnTo>
                    <a:pt x="3378" y="1633"/>
                  </a:lnTo>
                  <a:lnTo>
                    <a:pt x="3422" y="1576"/>
                  </a:lnTo>
                  <a:lnTo>
                    <a:pt x="3464" y="1516"/>
                  </a:lnTo>
                  <a:lnTo>
                    <a:pt x="3506" y="1457"/>
                  </a:lnTo>
                  <a:lnTo>
                    <a:pt x="3548" y="1396"/>
                  </a:lnTo>
                  <a:lnTo>
                    <a:pt x="3588" y="1335"/>
                  </a:lnTo>
                  <a:lnTo>
                    <a:pt x="3626" y="1274"/>
                  </a:lnTo>
                  <a:lnTo>
                    <a:pt x="3664" y="1211"/>
                  </a:lnTo>
                  <a:lnTo>
                    <a:pt x="3701" y="1148"/>
                  </a:lnTo>
                  <a:lnTo>
                    <a:pt x="3737" y="1085"/>
                  </a:lnTo>
                  <a:lnTo>
                    <a:pt x="3771" y="1020"/>
                  </a:lnTo>
                  <a:lnTo>
                    <a:pt x="3804" y="955"/>
                  </a:lnTo>
                  <a:lnTo>
                    <a:pt x="3836" y="890"/>
                  </a:lnTo>
                  <a:lnTo>
                    <a:pt x="3867" y="823"/>
                  </a:lnTo>
                  <a:lnTo>
                    <a:pt x="3867" y="823"/>
                  </a:lnTo>
                  <a:lnTo>
                    <a:pt x="3529" y="634"/>
                  </a:lnTo>
                  <a:lnTo>
                    <a:pt x="3529" y="634"/>
                  </a:lnTo>
                  <a:close/>
                </a:path>
              </a:pathLst>
            </a:custGeom>
            <a:solidFill>
              <a:srgbClr val="2A9B18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  <a:ex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Freeform 12"/>
            <p:cNvSpPr>
              <a:spLocks/>
            </p:cNvSpPr>
            <p:nvPr/>
          </p:nvSpPr>
          <p:spPr bwMode="auto">
            <a:xfrm rot="3405707">
              <a:off x="5443397" y="1653085"/>
              <a:ext cx="2183372" cy="1528088"/>
            </a:xfrm>
            <a:custGeom>
              <a:avLst/>
              <a:gdLst>
                <a:gd name="T0" fmla="*/ 3597 w 4818"/>
                <a:gd name="T1" fmla="*/ 609 h 3371"/>
                <a:gd name="T2" fmla="*/ 3800 w 4818"/>
                <a:gd name="T3" fmla="*/ 523 h 3371"/>
                <a:gd name="T4" fmla="*/ 4000 w 4818"/>
                <a:gd name="T5" fmla="*/ 418 h 3371"/>
                <a:gd name="T6" fmla="*/ 4195 w 4818"/>
                <a:gd name="T7" fmla="*/ 296 h 3371"/>
                <a:gd name="T8" fmla="*/ 4386 w 4818"/>
                <a:gd name="T9" fmla="*/ 156 h 3371"/>
                <a:gd name="T10" fmla="*/ 4569 w 4818"/>
                <a:gd name="T11" fmla="*/ 0 h 3371"/>
                <a:gd name="T12" fmla="*/ 4619 w 4818"/>
                <a:gd name="T13" fmla="*/ 156 h 3371"/>
                <a:gd name="T14" fmla="*/ 4682 w 4818"/>
                <a:gd name="T15" fmla="*/ 399 h 3371"/>
                <a:gd name="T16" fmla="*/ 4736 w 4818"/>
                <a:gd name="T17" fmla="*/ 651 h 3371"/>
                <a:gd name="T18" fmla="*/ 4776 w 4818"/>
                <a:gd name="T19" fmla="*/ 909 h 3371"/>
                <a:gd name="T20" fmla="*/ 4806 w 4818"/>
                <a:gd name="T21" fmla="*/ 1176 h 3371"/>
                <a:gd name="T22" fmla="*/ 4818 w 4818"/>
                <a:gd name="T23" fmla="*/ 1358 h 3371"/>
                <a:gd name="T24" fmla="*/ 4436 w 4818"/>
                <a:gd name="T25" fmla="*/ 1241 h 3371"/>
                <a:gd name="T26" fmla="*/ 4293 w 4818"/>
                <a:gd name="T27" fmla="*/ 1455 h 3371"/>
                <a:gd name="T28" fmla="*/ 4140 w 4818"/>
                <a:gd name="T29" fmla="*/ 1660 h 3371"/>
                <a:gd name="T30" fmla="*/ 3976 w 4818"/>
                <a:gd name="T31" fmla="*/ 1853 h 3371"/>
                <a:gd name="T32" fmla="*/ 3804 w 4818"/>
                <a:gd name="T33" fmla="*/ 2034 h 3371"/>
                <a:gd name="T34" fmla="*/ 3624 w 4818"/>
                <a:gd name="T35" fmla="*/ 2206 h 3371"/>
                <a:gd name="T36" fmla="*/ 3435 w 4818"/>
                <a:gd name="T37" fmla="*/ 2366 h 3371"/>
                <a:gd name="T38" fmla="*/ 3239 w 4818"/>
                <a:gd name="T39" fmla="*/ 2517 h 3371"/>
                <a:gd name="T40" fmla="*/ 3036 w 4818"/>
                <a:gd name="T41" fmla="*/ 2655 h 3371"/>
                <a:gd name="T42" fmla="*/ 2826 w 4818"/>
                <a:gd name="T43" fmla="*/ 2783 h 3371"/>
                <a:gd name="T44" fmla="*/ 2610 w 4818"/>
                <a:gd name="T45" fmla="*/ 2897 h 3371"/>
                <a:gd name="T46" fmla="*/ 2391 w 4818"/>
                <a:gd name="T47" fmla="*/ 3001 h 3371"/>
                <a:gd name="T48" fmla="*/ 2163 w 4818"/>
                <a:gd name="T49" fmla="*/ 3090 h 3371"/>
                <a:gd name="T50" fmla="*/ 1934 w 4818"/>
                <a:gd name="T51" fmla="*/ 3171 h 3371"/>
                <a:gd name="T52" fmla="*/ 1699 w 4818"/>
                <a:gd name="T53" fmla="*/ 3236 h 3371"/>
                <a:gd name="T54" fmla="*/ 1463 w 4818"/>
                <a:gd name="T55" fmla="*/ 3289 h 3371"/>
                <a:gd name="T56" fmla="*/ 1224 w 4818"/>
                <a:gd name="T57" fmla="*/ 3329 h 3371"/>
                <a:gd name="T58" fmla="*/ 981 w 4818"/>
                <a:gd name="T59" fmla="*/ 3356 h 3371"/>
                <a:gd name="T60" fmla="*/ 737 w 4818"/>
                <a:gd name="T61" fmla="*/ 3369 h 3371"/>
                <a:gd name="T62" fmla="*/ 493 w 4818"/>
                <a:gd name="T63" fmla="*/ 3369 h 3371"/>
                <a:gd name="T64" fmla="*/ 246 w 4818"/>
                <a:gd name="T65" fmla="*/ 3354 h 3371"/>
                <a:gd name="T66" fmla="*/ 0 w 4818"/>
                <a:gd name="T67" fmla="*/ 3325 h 3371"/>
                <a:gd name="T68" fmla="*/ 166 w 4818"/>
                <a:gd name="T69" fmla="*/ 3320 h 3371"/>
                <a:gd name="T70" fmla="*/ 411 w 4818"/>
                <a:gd name="T71" fmla="*/ 3299 h 3371"/>
                <a:gd name="T72" fmla="*/ 649 w 4818"/>
                <a:gd name="T73" fmla="*/ 3264 h 3371"/>
                <a:gd name="T74" fmla="*/ 882 w 4818"/>
                <a:gd name="T75" fmla="*/ 3218 h 3371"/>
                <a:gd name="T76" fmla="*/ 1111 w 4818"/>
                <a:gd name="T77" fmla="*/ 3161 h 3371"/>
                <a:gd name="T78" fmla="*/ 1335 w 4818"/>
                <a:gd name="T79" fmla="*/ 3092 h 3371"/>
                <a:gd name="T80" fmla="*/ 1552 w 4818"/>
                <a:gd name="T81" fmla="*/ 3012 h 3371"/>
                <a:gd name="T82" fmla="*/ 1762 w 4818"/>
                <a:gd name="T83" fmla="*/ 2920 h 3371"/>
                <a:gd name="T84" fmla="*/ 1967 w 4818"/>
                <a:gd name="T85" fmla="*/ 2819 h 3371"/>
                <a:gd name="T86" fmla="*/ 2165 w 4818"/>
                <a:gd name="T87" fmla="*/ 2708 h 3371"/>
                <a:gd name="T88" fmla="*/ 2356 w 4818"/>
                <a:gd name="T89" fmla="*/ 2588 h 3371"/>
                <a:gd name="T90" fmla="*/ 2538 w 4818"/>
                <a:gd name="T91" fmla="*/ 2460 h 3371"/>
                <a:gd name="T92" fmla="*/ 2713 w 4818"/>
                <a:gd name="T93" fmla="*/ 2321 h 3371"/>
                <a:gd name="T94" fmla="*/ 2881 w 4818"/>
                <a:gd name="T95" fmla="*/ 2175 h 3371"/>
                <a:gd name="T96" fmla="*/ 3040 w 4818"/>
                <a:gd name="T97" fmla="*/ 2021 h 3371"/>
                <a:gd name="T98" fmla="*/ 3191 w 4818"/>
                <a:gd name="T99" fmla="*/ 1860 h 3371"/>
                <a:gd name="T100" fmla="*/ 3332 w 4818"/>
                <a:gd name="T101" fmla="*/ 1690 h 3371"/>
                <a:gd name="T102" fmla="*/ 3464 w 4818"/>
                <a:gd name="T103" fmla="*/ 1516 h 3371"/>
                <a:gd name="T104" fmla="*/ 3588 w 4818"/>
                <a:gd name="T105" fmla="*/ 1335 h 3371"/>
                <a:gd name="T106" fmla="*/ 3701 w 4818"/>
                <a:gd name="T107" fmla="*/ 1148 h 3371"/>
                <a:gd name="T108" fmla="*/ 3804 w 4818"/>
                <a:gd name="T109" fmla="*/ 955 h 3371"/>
                <a:gd name="T110" fmla="*/ 3867 w 4818"/>
                <a:gd name="T111" fmla="*/ 823 h 3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818" h="3371">
                  <a:moveTo>
                    <a:pt x="3529" y="634"/>
                  </a:moveTo>
                  <a:lnTo>
                    <a:pt x="3529" y="634"/>
                  </a:lnTo>
                  <a:lnTo>
                    <a:pt x="3597" y="609"/>
                  </a:lnTo>
                  <a:lnTo>
                    <a:pt x="3664" y="582"/>
                  </a:lnTo>
                  <a:lnTo>
                    <a:pt x="3733" y="554"/>
                  </a:lnTo>
                  <a:lnTo>
                    <a:pt x="3800" y="523"/>
                  </a:lnTo>
                  <a:lnTo>
                    <a:pt x="3867" y="489"/>
                  </a:lnTo>
                  <a:lnTo>
                    <a:pt x="3934" y="454"/>
                  </a:lnTo>
                  <a:lnTo>
                    <a:pt x="4000" y="418"/>
                  </a:lnTo>
                  <a:lnTo>
                    <a:pt x="4065" y="380"/>
                  </a:lnTo>
                  <a:lnTo>
                    <a:pt x="4130" y="340"/>
                  </a:lnTo>
                  <a:lnTo>
                    <a:pt x="4195" y="296"/>
                  </a:lnTo>
                  <a:lnTo>
                    <a:pt x="4260" y="252"/>
                  </a:lnTo>
                  <a:lnTo>
                    <a:pt x="4323" y="206"/>
                  </a:lnTo>
                  <a:lnTo>
                    <a:pt x="4386" y="156"/>
                  </a:lnTo>
                  <a:lnTo>
                    <a:pt x="4447" y="107"/>
                  </a:lnTo>
                  <a:lnTo>
                    <a:pt x="4510" y="53"/>
                  </a:lnTo>
                  <a:lnTo>
                    <a:pt x="4569" y="0"/>
                  </a:lnTo>
                  <a:lnTo>
                    <a:pt x="4569" y="0"/>
                  </a:lnTo>
                  <a:lnTo>
                    <a:pt x="4594" y="78"/>
                  </a:lnTo>
                  <a:lnTo>
                    <a:pt x="4619" y="156"/>
                  </a:lnTo>
                  <a:lnTo>
                    <a:pt x="4640" y="237"/>
                  </a:lnTo>
                  <a:lnTo>
                    <a:pt x="4663" y="317"/>
                  </a:lnTo>
                  <a:lnTo>
                    <a:pt x="4682" y="399"/>
                  </a:lnTo>
                  <a:lnTo>
                    <a:pt x="4701" y="481"/>
                  </a:lnTo>
                  <a:lnTo>
                    <a:pt x="4718" y="565"/>
                  </a:lnTo>
                  <a:lnTo>
                    <a:pt x="4736" y="651"/>
                  </a:lnTo>
                  <a:lnTo>
                    <a:pt x="4751" y="735"/>
                  </a:lnTo>
                  <a:lnTo>
                    <a:pt x="4764" y="823"/>
                  </a:lnTo>
                  <a:lnTo>
                    <a:pt x="4776" y="909"/>
                  </a:lnTo>
                  <a:lnTo>
                    <a:pt x="4787" y="997"/>
                  </a:lnTo>
                  <a:lnTo>
                    <a:pt x="4797" y="1087"/>
                  </a:lnTo>
                  <a:lnTo>
                    <a:pt x="4806" y="1176"/>
                  </a:lnTo>
                  <a:lnTo>
                    <a:pt x="4812" y="1266"/>
                  </a:lnTo>
                  <a:lnTo>
                    <a:pt x="4818" y="1358"/>
                  </a:lnTo>
                  <a:lnTo>
                    <a:pt x="4818" y="1358"/>
                  </a:lnTo>
                  <a:lnTo>
                    <a:pt x="4480" y="1169"/>
                  </a:lnTo>
                  <a:lnTo>
                    <a:pt x="4480" y="1169"/>
                  </a:lnTo>
                  <a:lnTo>
                    <a:pt x="4436" y="1241"/>
                  </a:lnTo>
                  <a:lnTo>
                    <a:pt x="4388" y="1314"/>
                  </a:lnTo>
                  <a:lnTo>
                    <a:pt x="4340" y="1385"/>
                  </a:lnTo>
                  <a:lnTo>
                    <a:pt x="4293" y="1455"/>
                  </a:lnTo>
                  <a:lnTo>
                    <a:pt x="4243" y="1524"/>
                  </a:lnTo>
                  <a:lnTo>
                    <a:pt x="4191" y="1593"/>
                  </a:lnTo>
                  <a:lnTo>
                    <a:pt x="4140" y="1660"/>
                  </a:lnTo>
                  <a:lnTo>
                    <a:pt x="4086" y="1725"/>
                  </a:lnTo>
                  <a:lnTo>
                    <a:pt x="4031" y="1790"/>
                  </a:lnTo>
                  <a:lnTo>
                    <a:pt x="3976" y="1853"/>
                  </a:lnTo>
                  <a:lnTo>
                    <a:pt x="3920" y="1914"/>
                  </a:lnTo>
                  <a:lnTo>
                    <a:pt x="3863" y="1975"/>
                  </a:lnTo>
                  <a:lnTo>
                    <a:pt x="3804" y="2034"/>
                  </a:lnTo>
                  <a:lnTo>
                    <a:pt x="3745" y="2093"/>
                  </a:lnTo>
                  <a:lnTo>
                    <a:pt x="3685" y="2151"/>
                  </a:lnTo>
                  <a:lnTo>
                    <a:pt x="3624" y="2206"/>
                  </a:lnTo>
                  <a:lnTo>
                    <a:pt x="3561" y="2261"/>
                  </a:lnTo>
                  <a:lnTo>
                    <a:pt x="3498" y="2315"/>
                  </a:lnTo>
                  <a:lnTo>
                    <a:pt x="3435" y="2366"/>
                  </a:lnTo>
                  <a:lnTo>
                    <a:pt x="3370" y="2418"/>
                  </a:lnTo>
                  <a:lnTo>
                    <a:pt x="3305" y="2468"/>
                  </a:lnTo>
                  <a:lnTo>
                    <a:pt x="3239" y="2517"/>
                  </a:lnTo>
                  <a:lnTo>
                    <a:pt x="3172" y="2565"/>
                  </a:lnTo>
                  <a:lnTo>
                    <a:pt x="3105" y="2611"/>
                  </a:lnTo>
                  <a:lnTo>
                    <a:pt x="3036" y="2655"/>
                  </a:lnTo>
                  <a:lnTo>
                    <a:pt x="2967" y="2699"/>
                  </a:lnTo>
                  <a:lnTo>
                    <a:pt x="2897" y="2741"/>
                  </a:lnTo>
                  <a:lnTo>
                    <a:pt x="2826" y="2783"/>
                  </a:lnTo>
                  <a:lnTo>
                    <a:pt x="2755" y="2821"/>
                  </a:lnTo>
                  <a:lnTo>
                    <a:pt x="2683" y="2861"/>
                  </a:lnTo>
                  <a:lnTo>
                    <a:pt x="2610" y="2897"/>
                  </a:lnTo>
                  <a:lnTo>
                    <a:pt x="2538" y="2934"/>
                  </a:lnTo>
                  <a:lnTo>
                    <a:pt x="2465" y="2968"/>
                  </a:lnTo>
                  <a:lnTo>
                    <a:pt x="2391" y="3001"/>
                  </a:lnTo>
                  <a:lnTo>
                    <a:pt x="2316" y="3031"/>
                  </a:lnTo>
                  <a:lnTo>
                    <a:pt x="2240" y="3062"/>
                  </a:lnTo>
                  <a:lnTo>
                    <a:pt x="2163" y="3090"/>
                  </a:lnTo>
                  <a:lnTo>
                    <a:pt x="2089" y="3119"/>
                  </a:lnTo>
                  <a:lnTo>
                    <a:pt x="2011" y="3146"/>
                  </a:lnTo>
                  <a:lnTo>
                    <a:pt x="1934" y="3171"/>
                  </a:lnTo>
                  <a:lnTo>
                    <a:pt x="1856" y="3194"/>
                  </a:lnTo>
                  <a:lnTo>
                    <a:pt x="1780" y="3215"/>
                  </a:lnTo>
                  <a:lnTo>
                    <a:pt x="1699" y="3236"/>
                  </a:lnTo>
                  <a:lnTo>
                    <a:pt x="1621" y="3255"/>
                  </a:lnTo>
                  <a:lnTo>
                    <a:pt x="1543" y="3272"/>
                  </a:lnTo>
                  <a:lnTo>
                    <a:pt x="1463" y="3289"/>
                  </a:lnTo>
                  <a:lnTo>
                    <a:pt x="1382" y="3304"/>
                  </a:lnTo>
                  <a:lnTo>
                    <a:pt x="1304" y="3318"/>
                  </a:lnTo>
                  <a:lnTo>
                    <a:pt x="1224" y="3329"/>
                  </a:lnTo>
                  <a:lnTo>
                    <a:pt x="1142" y="3339"/>
                  </a:lnTo>
                  <a:lnTo>
                    <a:pt x="1062" y="3348"/>
                  </a:lnTo>
                  <a:lnTo>
                    <a:pt x="981" y="3356"/>
                  </a:lnTo>
                  <a:lnTo>
                    <a:pt x="899" y="3362"/>
                  </a:lnTo>
                  <a:lnTo>
                    <a:pt x="819" y="3365"/>
                  </a:lnTo>
                  <a:lnTo>
                    <a:pt x="737" y="3369"/>
                  </a:lnTo>
                  <a:lnTo>
                    <a:pt x="655" y="3371"/>
                  </a:lnTo>
                  <a:lnTo>
                    <a:pt x="573" y="3369"/>
                  </a:lnTo>
                  <a:lnTo>
                    <a:pt x="493" y="3369"/>
                  </a:lnTo>
                  <a:lnTo>
                    <a:pt x="411" y="3365"/>
                  </a:lnTo>
                  <a:lnTo>
                    <a:pt x="328" y="3360"/>
                  </a:lnTo>
                  <a:lnTo>
                    <a:pt x="246" y="3354"/>
                  </a:lnTo>
                  <a:lnTo>
                    <a:pt x="164" y="3346"/>
                  </a:lnTo>
                  <a:lnTo>
                    <a:pt x="82" y="3337"/>
                  </a:lnTo>
                  <a:lnTo>
                    <a:pt x="0" y="3325"/>
                  </a:lnTo>
                  <a:lnTo>
                    <a:pt x="0" y="3325"/>
                  </a:lnTo>
                  <a:lnTo>
                    <a:pt x="84" y="3323"/>
                  </a:lnTo>
                  <a:lnTo>
                    <a:pt x="166" y="3320"/>
                  </a:lnTo>
                  <a:lnTo>
                    <a:pt x="248" y="3314"/>
                  </a:lnTo>
                  <a:lnTo>
                    <a:pt x="328" y="3306"/>
                  </a:lnTo>
                  <a:lnTo>
                    <a:pt x="411" y="3299"/>
                  </a:lnTo>
                  <a:lnTo>
                    <a:pt x="491" y="3289"/>
                  </a:lnTo>
                  <a:lnTo>
                    <a:pt x="569" y="3278"/>
                  </a:lnTo>
                  <a:lnTo>
                    <a:pt x="649" y="3264"/>
                  </a:lnTo>
                  <a:lnTo>
                    <a:pt x="728" y="3251"/>
                  </a:lnTo>
                  <a:lnTo>
                    <a:pt x="806" y="3236"/>
                  </a:lnTo>
                  <a:lnTo>
                    <a:pt x="882" y="3218"/>
                  </a:lnTo>
                  <a:lnTo>
                    <a:pt x="960" y="3201"/>
                  </a:lnTo>
                  <a:lnTo>
                    <a:pt x="1037" y="3182"/>
                  </a:lnTo>
                  <a:lnTo>
                    <a:pt x="1111" y="3161"/>
                  </a:lnTo>
                  <a:lnTo>
                    <a:pt x="1188" y="3140"/>
                  </a:lnTo>
                  <a:lnTo>
                    <a:pt x="1262" y="3115"/>
                  </a:lnTo>
                  <a:lnTo>
                    <a:pt x="1335" y="3092"/>
                  </a:lnTo>
                  <a:lnTo>
                    <a:pt x="1407" y="3066"/>
                  </a:lnTo>
                  <a:lnTo>
                    <a:pt x="1480" y="3039"/>
                  </a:lnTo>
                  <a:lnTo>
                    <a:pt x="1552" y="3012"/>
                  </a:lnTo>
                  <a:lnTo>
                    <a:pt x="1623" y="2983"/>
                  </a:lnTo>
                  <a:lnTo>
                    <a:pt x="1694" y="2953"/>
                  </a:lnTo>
                  <a:lnTo>
                    <a:pt x="1762" y="2920"/>
                  </a:lnTo>
                  <a:lnTo>
                    <a:pt x="1831" y="2888"/>
                  </a:lnTo>
                  <a:lnTo>
                    <a:pt x="1900" y="2855"/>
                  </a:lnTo>
                  <a:lnTo>
                    <a:pt x="1967" y="2819"/>
                  </a:lnTo>
                  <a:lnTo>
                    <a:pt x="2034" y="2785"/>
                  </a:lnTo>
                  <a:lnTo>
                    <a:pt x="2100" y="2747"/>
                  </a:lnTo>
                  <a:lnTo>
                    <a:pt x="2165" y="2708"/>
                  </a:lnTo>
                  <a:lnTo>
                    <a:pt x="2230" y="2670"/>
                  </a:lnTo>
                  <a:lnTo>
                    <a:pt x="2293" y="2630"/>
                  </a:lnTo>
                  <a:lnTo>
                    <a:pt x="2356" y="2588"/>
                  </a:lnTo>
                  <a:lnTo>
                    <a:pt x="2417" y="2546"/>
                  </a:lnTo>
                  <a:lnTo>
                    <a:pt x="2479" y="2504"/>
                  </a:lnTo>
                  <a:lnTo>
                    <a:pt x="2538" y="2460"/>
                  </a:lnTo>
                  <a:lnTo>
                    <a:pt x="2599" y="2414"/>
                  </a:lnTo>
                  <a:lnTo>
                    <a:pt x="2656" y="2368"/>
                  </a:lnTo>
                  <a:lnTo>
                    <a:pt x="2713" y="2321"/>
                  </a:lnTo>
                  <a:lnTo>
                    <a:pt x="2771" y="2273"/>
                  </a:lnTo>
                  <a:lnTo>
                    <a:pt x="2826" y="2225"/>
                  </a:lnTo>
                  <a:lnTo>
                    <a:pt x="2881" y="2175"/>
                  </a:lnTo>
                  <a:lnTo>
                    <a:pt x="2935" y="2124"/>
                  </a:lnTo>
                  <a:lnTo>
                    <a:pt x="2988" y="2074"/>
                  </a:lnTo>
                  <a:lnTo>
                    <a:pt x="3040" y="2021"/>
                  </a:lnTo>
                  <a:lnTo>
                    <a:pt x="3091" y="1967"/>
                  </a:lnTo>
                  <a:lnTo>
                    <a:pt x="3141" y="1914"/>
                  </a:lnTo>
                  <a:lnTo>
                    <a:pt x="3191" y="1860"/>
                  </a:lnTo>
                  <a:lnTo>
                    <a:pt x="3239" y="1805"/>
                  </a:lnTo>
                  <a:lnTo>
                    <a:pt x="3286" y="1748"/>
                  </a:lnTo>
                  <a:lnTo>
                    <a:pt x="3332" y="1690"/>
                  </a:lnTo>
                  <a:lnTo>
                    <a:pt x="3378" y="1633"/>
                  </a:lnTo>
                  <a:lnTo>
                    <a:pt x="3422" y="1576"/>
                  </a:lnTo>
                  <a:lnTo>
                    <a:pt x="3464" y="1516"/>
                  </a:lnTo>
                  <a:lnTo>
                    <a:pt x="3506" y="1457"/>
                  </a:lnTo>
                  <a:lnTo>
                    <a:pt x="3548" y="1396"/>
                  </a:lnTo>
                  <a:lnTo>
                    <a:pt x="3588" y="1335"/>
                  </a:lnTo>
                  <a:lnTo>
                    <a:pt x="3626" y="1274"/>
                  </a:lnTo>
                  <a:lnTo>
                    <a:pt x="3664" y="1211"/>
                  </a:lnTo>
                  <a:lnTo>
                    <a:pt x="3701" y="1148"/>
                  </a:lnTo>
                  <a:lnTo>
                    <a:pt x="3737" y="1085"/>
                  </a:lnTo>
                  <a:lnTo>
                    <a:pt x="3771" y="1020"/>
                  </a:lnTo>
                  <a:lnTo>
                    <a:pt x="3804" y="955"/>
                  </a:lnTo>
                  <a:lnTo>
                    <a:pt x="3836" y="890"/>
                  </a:lnTo>
                  <a:lnTo>
                    <a:pt x="3867" y="823"/>
                  </a:lnTo>
                  <a:lnTo>
                    <a:pt x="3867" y="823"/>
                  </a:lnTo>
                  <a:lnTo>
                    <a:pt x="3529" y="634"/>
                  </a:lnTo>
                  <a:lnTo>
                    <a:pt x="3529" y="634"/>
                  </a:lnTo>
                  <a:close/>
                </a:path>
              </a:pathLst>
            </a:custGeom>
            <a:solidFill>
              <a:srgbClr val="CE202A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  <a:ex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2" name="Rectangle 11"/>
          <p:cNvSpPr/>
          <p:nvPr/>
        </p:nvSpPr>
        <p:spPr>
          <a:xfrm>
            <a:off x="1559379" y="4648200"/>
            <a:ext cx="2555421" cy="914400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1430510" y="4495800"/>
            <a:ext cx="304800" cy="304800"/>
          </a:xfrm>
          <a:prstGeom prst="ellipse">
            <a:avLst/>
          </a:prstGeom>
          <a:solidFill>
            <a:srgbClr val="2A9B18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</a:rPr>
              <a:t>1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863784" y="4800600"/>
            <a:ext cx="2040345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</a:pPr>
            <a:r>
              <a:rPr lang="en-US" sz="1200" b="1" dirty="0" err="1" smtClean="0">
                <a:solidFill>
                  <a:schemeClr val="bg1"/>
                </a:solidFill>
              </a:rPr>
              <a:t>Lorem</a:t>
            </a:r>
            <a:r>
              <a:rPr lang="en-US" sz="1200" b="1" dirty="0" smtClean="0">
                <a:solidFill>
                  <a:schemeClr val="bg1"/>
                </a:solidFill>
              </a:rPr>
              <a:t> </a:t>
            </a:r>
            <a:r>
              <a:rPr lang="en-US" sz="1200" b="1" dirty="0" err="1" smtClean="0">
                <a:solidFill>
                  <a:schemeClr val="bg1"/>
                </a:solidFill>
              </a:rPr>
              <a:t>Ipsum</a:t>
            </a:r>
            <a:r>
              <a:rPr lang="en-US" sz="1200" dirty="0" smtClean="0">
                <a:solidFill>
                  <a:schemeClr val="bg1"/>
                </a:solidFill>
              </a:rPr>
              <a:t> is simply dummy text of the printing and typesetting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5427255" y="4800600"/>
            <a:ext cx="2040345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</a:pPr>
            <a:r>
              <a:rPr lang="en-US" sz="1200" b="1" dirty="0" err="1" smtClean="0">
                <a:solidFill>
                  <a:schemeClr val="bg1"/>
                </a:solidFill>
              </a:rPr>
              <a:t>Lorem</a:t>
            </a:r>
            <a:r>
              <a:rPr lang="en-US" sz="1200" b="1" dirty="0" smtClean="0">
                <a:solidFill>
                  <a:schemeClr val="bg1"/>
                </a:solidFill>
              </a:rPr>
              <a:t> </a:t>
            </a:r>
            <a:r>
              <a:rPr lang="en-US" sz="1200" b="1" dirty="0" err="1" smtClean="0">
                <a:solidFill>
                  <a:schemeClr val="bg1"/>
                </a:solidFill>
              </a:rPr>
              <a:t>Ipsum</a:t>
            </a:r>
            <a:r>
              <a:rPr lang="en-US" sz="1200" dirty="0" smtClean="0">
                <a:solidFill>
                  <a:schemeClr val="bg1"/>
                </a:solidFill>
              </a:rPr>
              <a:t> is simply dummy text of the printing and typesetting</a:t>
            </a:r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NAME OF PRESENTER</a:t>
            </a:r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487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33400" y="2171700"/>
            <a:ext cx="7924800" cy="3238500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3428999" y="1905000"/>
            <a:ext cx="1524001" cy="533400"/>
          </a:xfrm>
          <a:prstGeom prst="rect">
            <a:avLst/>
          </a:prstGeom>
          <a:solidFill>
            <a:srgbClr val="CE202A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/>
          <p:cNvSpPr/>
          <p:nvPr/>
        </p:nvSpPr>
        <p:spPr>
          <a:xfrm>
            <a:off x="4953000" y="1905000"/>
            <a:ext cx="1447799" cy="533400"/>
          </a:xfrm>
          <a:prstGeom prst="rect">
            <a:avLst/>
          </a:prstGeom>
          <a:solidFill>
            <a:srgbClr val="2A9B18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/>
          <p:cNvSpPr/>
          <p:nvPr/>
        </p:nvSpPr>
        <p:spPr>
          <a:xfrm>
            <a:off x="6400800" y="1905000"/>
            <a:ext cx="2057401" cy="533400"/>
          </a:xfrm>
          <a:prstGeom prst="rect">
            <a:avLst/>
          </a:prstGeom>
          <a:solidFill>
            <a:srgbClr val="F0B71F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533400" y="1905000"/>
            <a:ext cx="2895600" cy="533400"/>
          </a:xfrm>
          <a:prstGeom prst="rect">
            <a:avLst/>
          </a:prstGeom>
          <a:solidFill>
            <a:srgbClr val="0D65AC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Slide Number Placeholder 8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5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42" name="TextBox 41"/>
          <p:cNvSpPr txBox="1"/>
          <p:nvPr/>
        </p:nvSpPr>
        <p:spPr>
          <a:xfrm>
            <a:off x="3105034" y="559832"/>
            <a:ext cx="29339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dirty="0" smtClean="0">
                <a:latin typeface="+mj-lt"/>
              </a:rPr>
              <a:t>FISCAL YEAR COMPARISON</a:t>
            </a:r>
          </a:p>
          <a:p>
            <a:pPr algn="ctr">
              <a:lnSpc>
                <a:spcPct val="80000"/>
              </a:lnSpc>
            </a:pPr>
            <a:r>
              <a:rPr lang="en-US" sz="1200" dirty="0" smtClean="0">
                <a:latin typeface="+mj-lt"/>
              </a:rPr>
              <a:t>Replace this text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2921000" y="1098729"/>
            <a:ext cx="33020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533400" y="4876800"/>
            <a:ext cx="7924800" cy="5334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4338452"/>
              </p:ext>
            </p:extLst>
          </p:nvPr>
        </p:nvGraphicFramePr>
        <p:xfrm>
          <a:off x="607358" y="1981200"/>
          <a:ext cx="7774644" cy="33393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21642"/>
                <a:gridCol w="1524000"/>
                <a:gridCol w="1447800"/>
                <a:gridCol w="1981202"/>
              </a:tblGrid>
              <a:tr h="417419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en-US" sz="1200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EXAMPLE TEXT</a:t>
                      </a:r>
                      <a:endParaRPr lang="en-US" sz="1200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012</a:t>
                      </a:r>
                      <a:endParaRPr lang="en-US" sz="12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013</a:t>
                      </a:r>
                      <a:endParaRPr lang="en-US" sz="12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014 Budget</a:t>
                      </a:r>
                      <a:endParaRPr lang="en-US" sz="12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</a:tr>
              <a:tr h="417419">
                <a:tc>
                  <a:txBody>
                    <a:bodyPr/>
                    <a:lstStyle/>
                    <a:p>
                      <a:pPr algn="l"/>
                      <a:r>
                        <a:rPr lang="en-US" sz="1200" smtClean="0"/>
                        <a:t>Example Text</a:t>
                      </a:r>
                      <a:endParaRPr lang="en-US" sz="12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200</a:t>
                      </a:r>
                      <a:endParaRPr lang="en-US" sz="12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000</a:t>
                      </a:r>
                      <a:endParaRPr lang="en-US" sz="12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560</a:t>
                      </a:r>
                      <a:endParaRPr lang="en-US" sz="1200" dirty="0"/>
                    </a:p>
                  </a:txBody>
                  <a:tcPr anchor="ctr">
                    <a:noFill/>
                  </a:tcPr>
                </a:tc>
              </a:tr>
              <a:tr h="417419">
                <a:tc>
                  <a:txBody>
                    <a:bodyPr/>
                    <a:lstStyle/>
                    <a:p>
                      <a:pPr algn="l"/>
                      <a:r>
                        <a:rPr lang="en-US" sz="1200" smtClean="0"/>
                        <a:t>Example Text</a:t>
                      </a:r>
                      <a:endParaRPr lang="en-US" sz="12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00</a:t>
                      </a:r>
                      <a:endParaRPr lang="en-US" sz="12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00</a:t>
                      </a:r>
                      <a:endParaRPr lang="en-US" sz="12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580</a:t>
                      </a:r>
                      <a:endParaRPr lang="en-US" sz="1200" dirty="0"/>
                    </a:p>
                  </a:txBody>
                  <a:tcPr anchor="ctr">
                    <a:noFill/>
                  </a:tcPr>
                </a:tc>
              </a:tr>
              <a:tr h="417419">
                <a:tc>
                  <a:txBody>
                    <a:bodyPr/>
                    <a:lstStyle/>
                    <a:p>
                      <a:pPr algn="l"/>
                      <a:r>
                        <a:rPr lang="en-US" sz="1200" smtClean="0"/>
                        <a:t>Example Text</a:t>
                      </a:r>
                      <a:endParaRPr lang="en-US" sz="12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50</a:t>
                      </a:r>
                      <a:endParaRPr lang="en-US" sz="12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800</a:t>
                      </a:r>
                      <a:endParaRPr lang="en-US" sz="12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640</a:t>
                      </a:r>
                      <a:endParaRPr lang="en-US" sz="1200" dirty="0"/>
                    </a:p>
                  </a:txBody>
                  <a:tcPr anchor="ctr">
                    <a:noFill/>
                  </a:tcPr>
                </a:tc>
              </a:tr>
              <a:tr h="417419">
                <a:tc>
                  <a:txBody>
                    <a:bodyPr/>
                    <a:lstStyle/>
                    <a:p>
                      <a:pPr algn="l"/>
                      <a:r>
                        <a:rPr lang="en-US" sz="1200" smtClean="0"/>
                        <a:t>Example Text</a:t>
                      </a:r>
                      <a:endParaRPr lang="en-US" sz="12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750</a:t>
                      </a:r>
                      <a:endParaRPr lang="en-US" sz="12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460</a:t>
                      </a:r>
                      <a:endParaRPr lang="en-US" sz="12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150</a:t>
                      </a:r>
                      <a:endParaRPr lang="en-US" sz="1200" dirty="0"/>
                    </a:p>
                  </a:txBody>
                  <a:tcPr anchor="ctr">
                    <a:noFill/>
                  </a:tcPr>
                </a:tc>
              </a:tr>
              <a:tr h="417419">
                <a:tc>
                  <a:txBody>
                    <a:bodyPr/>
                    <a:lstStyle/>
                    <a:p>
                      <a:pPr algn="l"/>
                      <a:r>
                        <a:rPr lang="en-US" sz="1200" smtClean="0"/>
                        <a:t>Example Text</a:t>
                      </a:r>
                      <a:endParaRPr lang="en-US" sz="12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900</a:t>
                      </a:r>
                      <a:endParaRPr lang="en-US" sz="12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50</a:t>
                      </a:r>
                      <a:endParaRPr lang="en-US" sz="12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870</a:t>
                      </a:r>
                      <a:endParaRPr lang="en-US" sz="1200" dirty="0"/>
                    </a:p>
                  </a:txBody>
                  <a:tcPr anchor="ctr">
                    <a:noFill/>
                  </a:tcPr>
                </a:tc>
              </a:tr>
              <a:tr h="417419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Example Text</a:t>
                      </a:r>
                      <a:endParaRPr lang="en-US" sz="12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500</a:t>
                      </a:r>
                      <a:endParaRPr lang="en-US" sz="12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780</a:t>
                      </a:r>
                      <a:endParaRPr lang="en-US" sz="12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960</a:t>
                      </a:r>
                      <a:endParaRPr lang="en-US" sz="1200" dirty="0"/>
                    </a:p>
                  </a:txBody>
                  <a:tcPr anchor="ctr">
                    <a:noFill/>
                  </a:tcPr>
                </a:tc>
              </a:tr>
              <a:tr h="417419">
                <a:tc>
                  <a:txBody>
                    <a:bodyPr/>
                    <a:lstStyle/>
                    <a:p>
                      <a:r>
                        <a:rPr lang="en-US" b="1" dirty="0" smtClean="0">
                          <a:solidFill>
                            <a:schemeClr val="bg1"/>
                          </a:solidFill>
                        </a:rPr>
                        <a:t>Total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500</a:t>
                      </a:r>
                      <a:endParaRPr lang="en-US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800</a:t>
                      </a:r>
                      <a:endParaRPr lang="en-US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600</a:t>
                      </a:r>
                      <a:endParaRPr lang="en-US" dirty="0"/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NAME OF PRESENTER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7327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Slide Number Placeholder 8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6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3105034" y="559832"/>
            <a:ext cx="29339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dirty="0" smtClean="0">
                <a:latin typeface="+mj-lt"/>
              </a:rPr>
              <a:t>FISCAL YEAR COMPARISON</a:t>
            </a:r>
          </a:p>
          <a:p>
            <a:pPr algn="ctr">
              <a:lnSpc>
                <a:spcPct val="80000"/>
              </a:lnSpc>
            </a:pPr>
            <a:r>
              <a:rPr lang="en-US" sz="1200" dirty="0" smtClean="0">
                <a:latin typeface="+mj-lt"/>
              </a:rPr>
              <a:t>Replace this text</a:t>
            </a:r>
          </a:p>
        </p:txBody>
      </p:sp>
      <p:cxnSp>
        <p:nvCxnSpPr>
          <p:cNvPr id="31" name="Straight Connector 30"/>
          <p:cNvCxnSpPr/>
          <p:nvPr/>
        </p:nvCxnSpPr>
        <p:spPr>
          <a:xfrm>
            <a:off x="2921000" y="1098729"/>
            <a:ext cx="33020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1143000" y="2565524"/>
            <a:ext cx="1671140" cy="1265274"/>
            <a:chOff x="5298973" y="2051050"/>
            <a:chExt cx="1112947" cy="842648"/>
          </a:xfrm>
        </p:grpSpPr>
        <p:grpSp>
          <p:nvGrpSpPr>
            <p:cNvPr id="33" name="Group 32"/>
            <p:cNvGrpSpPr/>
            <p:nvPr/>
          </p:nvGrpSpPr>
          <p:grpSpPr>
            <a:xfrm>
              <a:off x="5298973" y="2370583"/>
              <a:ext cx="1065306" cy="523115"/>
              <a:chOff x="7091363" y="2232025"/>
              <a:chExt cx="2305050" cy="1131888"/>
            </a:xfrm>
          </p:grpSpPr>
          <p:sp>
            <p:nvSpPr>
              <p:cNvPr id="54" name="Freeform 44"/>
              <p:cNvSpPr>
                <a:spLocks/>
              </p:cNvSpPr>
              <p:nvPr/>
            </p:nvSpPr>
            <p:spPr bwMode="auto">
              <a:xfrm>
                <a:off x="7091363" y="2384425"/>
                <a:ext cx="2305050" cy="979488"/>
              </a:xfrm>
              <a:custGeom>
                <a:avLst/>
                <a:gdLst>
                  <a:gd name="T0" fmla="*/ 2904 w 2904"/>
                  <a:gd name="T1" fmla="*/ 837 h 1234"/>
                  <a:gd name="T2" fmla="*/ 2904 w 2904"/>
                  <a:gd name="T3" fmla="*/ 189 h 1234"/>
                  <a:gd name="T4" fmla="*/ 1023 w 2904"/>
                  <a:gd name="T5" fmla="*/ 429 h 1234"/>
                  <a:gd name="T6" fmla="*/ 0 w 2904"/>
                  <a:gd name="T7" fmla="*/ 0 h 1234"/>
                  <a:gd name="T8" fmla="*/ 0 w 2904"/>
                  <a:gd name="T9" fmla="*/ 796 h 1234"/>
                  <a:gd name="T10" fmla="*/ 940 w 2904"/>
                  <a:gd name="T11" fmla="*/ 1234 h 1234"/>
                  <a:gd name="T12" fmla="*/ 2904 w 2904"/>
                  <a:gd name="T13" fmla="*/ 837 h 1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4" h="1234">
                    <a:moveTo>
                      <a:pt x="2904" y="837"/>
                    </a:moveTo>
                    <a:lnTo>
                      <a:pt x="2904" y="189"/>
                    </a:lnTo>
                    <a:lnTo>
                      <a:pt x="1023" y="429"/>
                    </a:lnTo>
                    <a:lnTo>
                      <a:pt x="0" y="0"/>
                    </a:lnTo>
                    <a:lnTo>
                      <a:pt x="0" y="796"/>
                    </a:lnTo>
                    <a:lnTo>
                      <a:pt x="940" y="1234"/>
                    </a:lnTo>
                    <a:lnTo>
                      <a:pt x="2904" y="837"/>
                    </a:lnTo>
                    <a:close/>
                  </a:path>
                </a:pathLst>
              </a:custGeom>
              <a:solidFill>
                <a:srgbClr val="2A9B1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45"/>
              <p:cNvSpPr>
                <a:spLocks/>
              </p:cNvSpPr>
              <p:nvPr/>
            </p:nvSpPr>
            <p:spPr bwMode="auto">
              <a:xfrm>
                <a:off x="7091363" y="2232025"/>
                <a:ext cx="2305050" cy="492125"/>
              </a:xfrm>
              <a:custGeom>
                <a:avLst/>
                <a:gdLst>
                  <a:gd name="T0" fmla="*/ 2016 w 2904"/>
                  <a:gd name="T1" fmla="*/ 0 h 621"/>
                  <a:gd name="T2" fmla="*/ 2904 w 2904"/>
                  <a:gd name="T3" fmla="*/ 381 h 621"/>
                  <a:gd name="T4" fmla="*/ 1023 w 2904"/>
                  <a:gd name="T5" fmla="*/ 621 h 621"/>
                  <a:gd name="T6" fmla="*/ 0 w 2904"/>
                  <a:gd name="T7" fmla="*/ 192 h 621"/>
                  <a:gd name="T8" fmla="*/ 2016 w 2904"/>
                  <a:gd name="T9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04" h="621">
                    <a:moveTo>
                      <a:pt x="2016" y="0"/>
                    </a:moveTo>
                    <a:lnTo>
                      <a:pt x="2904" y="381"/>
                    </a:lnTo>
                    <a:lnTo>
                      <a:pt x="1023" y="621"/>
                    </a:lnTo>
                    <a:lnTo>
                      <a:pt x="0" y="192"/>
                    </a:lnTo>
                    <a:lnTo>
                      <a:pt x="2016" y="0"/>
                    </a:lnTo>
                    <a:close/>
                  </a:path>
                </a:pathLst>
              </a:custGeom>
              <a:solidFill>
                <a:srgbClr val="23A50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46"/>
              <p:cNvSpPr>
                <a:spLocks noEditPoints="1"/>
              </p:cNvSpPr>
              <p:nvPr/>
            </p:nvSpPr>
            <p:spPr bwMode="auto">
              <a:xfrm>
                <a:off x="7242176" y="2270125"/>
                <a:ext cx="2012950" cy="415925"/>
              </a:xfrm>
              <a:custGeom>
                <a:avLst/>
                <a:gdLst>
                  <a:gd name="T0" fmla="*/ 840 w 2536"/>
                  <a:gd name="T1" fmla="*/ 525 h 525"/>
                  <a:gd name="T2" fmla="*/ 844 w 2536"/>
                  <a:gd name="T3" fmla="*/ 525 h 525"/>
                  <a:gd name="T4" fmla="*/ 2536 w 2536"/>
                  <a:gd name="T5" fmla="*/ 308 h 525"/>
                  <a:gd name="T6" fmla="*/ 1818 w 2536"/>
                  <a:gd name="T7" fmla="*/ 0 h 525"/>
                  <a:gd name="T8" fmla="*/ 1814 w 2536"/>
                  <a:gd name="T9" fmla="*/ 0 h 525"/>
                  <a:gd name="T10" fmla="*/ 0 w 2536"/>
                  <a:gd name="T11" fmla="*/ 173 h 525"/>
                  <a:gd name="T12" fmla="*/ 840 w 2536"/>
                  <a:gd name="T13" fmla="*/ 525 h 525"/>
                  <a:gd name="T14" fmla="*/ 2418 w 2536"/>
                  <a:gd name="T15" fmla="*/ 291 h 525"/>
                  <a:gd name="T16" fmla="*/ 844 w 2536"/>
                  <a:gd name="T17" fmla="*/ 492 h 525"/>
                  <a:gd name="T18" fmla="*/ 128 w 2536"/>
                  <a:gd name="T19" fmla="*/ 193 h 525"/>
                  <a:gd name="T20" fmla="*/ 1813 w 2536"/>
                  <a:gd name="T21" fmla="*/ 31 h 525"/>
                  <a:gd name="T22" fmla="*/ 2418 w 2536"/>
                  <a:gd name="T23" fmla="*/ 291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36" h="525">
                    <a:moveTo>
                      <a:pt x="840" y="525"/>
                    </a:moveTo>
                    <a:lnTo>
                      <a:pt x="844" y="525"/>
                    </a:lnTo>
                    <a:lnTo>
                      <a:pt x="2536" y="308"/>
                    </a:lnTo>
                    <a:lnTo>
                      <a:pt x="1818" y="0"/>
                    </a:lnTo>
                    <a:lnTo>
                      <a:pt x="1814" y="0"/>
                    </a:lnTo>
                    <a:lnTo>
                      <a:pt x="0" y="173"/>
                    </a:lnTo>
                    <a:lnTo>
                      <a:pt x="840" y="525"/>
                    </a:lnTo>
                    <a:close/>
                    <a:moveTo>
                      <a:pt x="2418" y="291"/>
                    </a:moveTo>
                    <a:lnTo>
                      <a:pt x="844" y="492"/>
                    </a:lnTo>
                    <a:lnTo>
                      <a:pt x="128" y="193"/>
                    </a:lnTo>
                    <a:lnTo>
                      <a:pt x="1813" y="31"/>
                    </a:lnTo>
                    <a:lnTo>
                      <a:pt x="2418" y="291"/>
                    </a:lnTo>
                    <a:close/>
                  </a:path>
                </a:pathLst>
              </a:custGeom>
              <a:solidFill>
                <a:srgbClr val="FFD75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47"/>
              <p:cNvSpPr>
                <a:spLocks/>
              </p:cNvSpPr>
              <p:nvPr/>
            </p:nvSpPr>
            <p:spPr bwMode="auto">
              <a:xfrm>
                <a:off x="7900988" y="2270125"/>
                <a:ext cx="1031875" cy="946150"/>
              </a:xfrm>
              <a:custGeom>
                <a:avLst/>
                <a:gdLst>
                  <a:gd name="T0" fmla="*/ 1299 w 1299"/>
                  <a:gd name="T1" fmla="*/ 407 h 1192"/>
                  <a:gd name="T2" fmla="*/ 1299 w 1299"/>
                  <a:gd name="T3" fmla="*/ 1099 h 1192"/>
                  <a:gd name="T4" fmla="*/ 837 w 1299"/>
                  <a:gd name="T5" fmla="*/ 1192 h 1192"/>
                  <a:gd name="T6" fmla="*/ 837 w 1299"/>
                  <a:gd name="T7" fmla="*/ 466 h 1192"/>
                  <a:gd name="T8" fmla="*/ 0 w 1299"/>
                  <a:gd name="T9" fmla="*/ 47 h 1192"/>
                  <a:gd name="T10" fmla="*/ 496 w 1299"/>
                  <a:gd name="T11" fmla="*/ 0 h 1192"/>
                  <a:gd name="T12" fmla="*/ 1299 w 1299"/>
                  <a:gd name="T13" fmla="*/ 407 h 1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99" h="1192">
                    <a:moveTo>
                      <a:pt x="1299" y="407"/>
                    </a:moveTo>
                    <a:lnTo>
                      <a:pt x="1299" y="1099"/>
                    </a:lnTo>
                    <a:lnTo>
                      <a:pt x="837" y="1192"/>
                    </a:lnTo>
                    <a:lnTo>
                      <a:pt x="837" y="466"/>
                    </a:lnTo>
                    <a:lnTo>
                      <a:pt x="0" y="47"/>
                    </a:lnTo>
                    <a:lnTo>
                      <a:pt x="496" y="0"/>
                    </a:lnTo>
                    <a:lnTo>
                      <a:pt x="1299" y="407"/>
                    </a:lnTo>
                    <a:close/>
                  </a:path>
                </a:pathLst>
              </a:custGeom>
              <a:solidFill>
                <a:srgbClr val="FFDE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48"/>
              <p:cNvSpPr>
                <a:spLocks/>
              </p:cNvSpPr>
              <p:nvPr/>
            </p:nvSpPr>
            <p:spPr bwMode="auto">
              <a:xfrm>
                <a:off x="8566151" y="2592388"/>
                <a:ext cx="366713" cy="623888"/>
              </a:xfrm>
              <a:custGeom>
                <a:avLst/>
                <a:gdLst>
                  <a:gd name="T0" fmla="*/ 462 w 462"/>
                  <a:gd name="T1" fmla="*/ 0 h 785"/>
                  <a:gd name="T2" fmla="*/ 462 w 462"/>
                  <a:gd name="T3" fmla="*/ 692 h 785"/>
                  <a:gd name="T4" fmla="*/ 0 w 462"/>
                  <a:gd name="T5" fmla="*/ 785 h 785"/>
                  <a:gd name="T6" fmla="*/ 0 w 462"/>
                  <a:gd name="T7" fmla="*/ 59 h 785"/>
                  <a:gd name="T8" fmla="*/ 462 w 462"/>
                  <a:gd name="T9" fmla="*/ 0 h 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2" h="785">
                    <a:moveTo>
                      <a:pt x="462" y="0"/>
                    </a:moveTo>
                    <a:lnTo>
                      <a:pt x="462" y="692"/>
                    </a:lnTo>
                    <a:lnTo>
                      <a:pt x="0" y="785"/>
                    </a:lnTo>
                    <a:lnTo>
                      <a:pt x="0" y="59"/>
                    </a:lnTo>
                    <a:lnTo>
                      <a:pt x="462" y="0"/>
                    </a:lnTo>
                    <a:close/>
                  </a:path>
                </a:pathLst>
              </a:custGeom>
              <a:solidFill>
                <a:srgbClr val="EFCA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Freeform 146"/>
            <p:cNvSpPr>
              <a:spLocks/>
            </p:cNvSpPr>
            <p:nvPr/>
          </p:nvSpPr>
          <p:spPr bwMode="auto">
            <a:xfrm rot="3453316" flipV="1">
              <a:off x="5728880" y="2073733"/>
              <a:ext cx="705724" cy="660357"/>
            </a:xfrm>
            <a:custGeom>
              <a:avLst/>
              <a:gdLst>
                <a:gd name="T0" fmla="*/ 264 w 560"/>
                <a:gd name="T1" fmla="*/ 80 h 528"/>
                <a:gd name="T2" fmla="*/ 294 w 560"/>
                <a:gd name="T3" fmla="*/ 250 h 528"/>
                <a:gd name="T4" fmla="*/ 264 w 560"/>
                <a:gd name="T5" fmla="*/ 263 h 528"/>
                <a:gd name="T6" fmla="*/ 235 w 560"/>
                <a:gd name="T7" fmla="*/ 272 h 528"/>
                <a:gd name="T8" fmla="*/ 205 w 560"/>
                <a:gd name="T9" fmla="*/ 276 h 528"/>
                <a:gd name="T10" fmla="*/ 178 w 560"/>
                <a:gd name="T11" fmla="*/ 276 h 528"/>
                <a:gd name="T12" fmla="*/ 152 w 560"/>
                <a:gd name="T13" fmla="*/ 271 h 528"/>
                <a:gd name="T14" fmla="*/ 128 w 560"/>
                <a:gd name="T15" fmla="*/ 262 h 528"/>
                <a:gd name="T16" fmla="*/ 105 w 560"/>
                <a:gd name="T17" fmla="*/ 250 h 528"/>
                <a:gd name="T18" fmla="*/ 87 w 560"/>
                <a:gd name="T19" fmla="*/ 234 h 528"/>
                <a:gd name="T20" fmla="*/ 71 w 560"/>
                <a:gd name="T21" fmla="*/ 214 h 528"/>
                <a:gd name="T22" fmla="*/ 58 w 560"/>
                <a:gd name="T23" fmla="*/ 192 h 528"/>
                <a:gd name="T24" fmla="*/ 51 w 560"/>
                <a:gd name="T25" fmla="*/ 166 h 528"/>
                <a:gd name="T26" fmla="*/ 48 w 560"/>
                <a:gd name="T27" fmla="*/ 138 h 528"/>
                <a:gd name="T28" fmla="*/ 50 w 560"/>
                <a:gd name="T29" fmla="*/ 107 h 528"/>
                <a:gd name="T30" fmla="*/ 57 w 560"/>
                <a:gd name="T31" fmla="*/ 74 h 528"/>
                <a:gd name="T32" fmla="*/ 71 w 560"/>
                <a:gd name="T33" fmla="*/ 39 h 528"/>
                <a:gd name="T34" fmla="*/ 82 w 560"/>
                <a:gd name="T35" fmla="*/ 18 h 528"/>
                <a:gd name="T36" fmla="*/ 83 w 560"/>
                <a:gd name="T37" fmla="*/ 13 h 528"/>
                <a:gd name="T38" fmla="*/ 81 w 560"/>
                <a:gd name="T39" fmla="*/ 6 h 528"/>
                <a:gd name="T40" fmla="*/ 72 w 560"/>
                <a:gd name="T41" fmla="*/ 0 h 528"/>
                <a:gd name="T42" fmla="*/ 64 w 560"/>
                <a:gd name="T43" fmla="*/ 1 h 528"/>
                <a:gd name="T44" fmla="*/ 58 w 560"/>
                <a:gd name="T45" fmla="*/ 5 h 528"/>
                <a:gd name="T46" fmla="*/ 48 w 560"/>
                <a:gd name="T47" fmla="*/ 19 h 528"/>
                <a:gd name="T48" fmla="*/ 30 w 560"/>
                <a:gd name="T49" fmla="*/ 54 h 528"/>
                <a:gd name="T50" fmla="*/ 14 w 560"/>
                <a:gd name="T51" fmla="*/ 98 h 528"/>
                <a:gd name="T52" fmla="*/ 4 w 560"/>
                <a:gd name="T53" fmla="*/ 137 h 528"/>
                <a:gd name="T54" fmla="*/ 1 w 560"/>
                <a:gd name="T55" fmla="*/ 165 h 528"/>
                <a:gd name="T56" fmla="*/ 0 w 560"/>
                <a:gd name="T57" fmla="*/ 194 h 528"/>
                <a:gd name="T58" fmla="*/ 2 w 560"/>
                <a:gd name="T59" fmla="*/ 223 h 528"/>
                <a:gd name="T60" fmla="*/ 8 w 560"/>
                <a:gd name="T61" fmla="*/ 253 h 528"/>
                <a:gd name="T62" fmla="*/ 18 w 560"/>
                <a:gd name="T63" fmla="*/ 283 h 528"/>
                <a:gd name="T64" fmla="*/ 33 w 560"/>
                <a:gd name="T65" fmla="*/ 312 h 528"/>
                <a:gd name="T66" fmla="*/ 52 w 560"/>
                <a:gd name="T67" fmla="*/ 341 h 528"/>
                <a:gd name="T68" fmla="*/ 79 w 560"/>
                <a:gd name="T69" fmla="*/ 368 h 528"/>
                <a:gd name="T70" fmla="*/ 110 w 560"/>
                <a:gd name="T71" fmla="*/ 393 h 528"/>
                <a:gd name="T72" fmla="*/ 145 w 560"/>
                <a:gd name="T73" fmla="*/ 413 h 528"/>
                <a:gd name="T74" fmla="*/ 173 w 560"/>
                <a:gd name="T75" fmla="*/ 423 h 528"/>
                <a:gd name="T76" fmla="*/ 195 w 560"/>
                <a:gd name="T77" fmla="*/ 430 h 528"/>
                <a:gd name="T78" fmla="*/ 221 w 560"/>
                <a:gd name="T79" fmla="*/ 434 h 528"/>
                <a:gd name="T80" fmla="*/ 252 w 560"/>
                <a:gd name="T81" fmla="*/ 435 h 528"/>
                <a:gd name="T82" fmla="*/ 288 w 560"/>
                <a:gd name="T83" fmla="*/ 433 h 528"/>
                <a:gd name="T84" fmla="*/ 333 w 560"/>
                <a:gd name="T85" fmla="*/ 424 h 528"/>
                <a:gd name="T86" fmla="*/ 389 w 560"/>
                <a:gd name="T87" fmla="*/ 528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60" h="528">
                  <a:moveTo>
                    <a:pt x="560" y="239"/>
                  </a:moveTo>
                  <a:lnTo>
                    <a:pt x="264" y="80"/>
                  </a:lnTo>
                  <a:lnTo>
                    <a:pt x="309" y="242"/>
                  </a:lnTo>
                  <a:lnTo>
                    <a:pt x="294" y="250"/>
                  </a:lnTo>
                  <a:lnTo>
                    <a:pt x="279" y="258"/>
                  </a:lnTo>
                  <a:lnTo>
                    <a:pt x="264" y="263"/>
                  </a:lnTo>
                  <a:lnTo>
                    <a:pt x="250" y="268"/>
                  </a:lnTo>
                  <a:lnTo>
                    <a:pt x="235" y="272"/>
                  </a:lnTo>
                  <a:lnTo>
                    <a:pt x="220" y="275"/>
                  </a:lnTo>
                  <a:lnTo>
                    <a:pt x="205" y="276"/>
                  </a:lnTo>
                  <a:lnTo>
                    <a:pt x="191" y="276"/>
                  </a:lnTo>
                  <a:lnTo>
                    <a:pt x="178" y="276"/>
                  </a:lnTo>
                  <a:lnTo>
                    <a:pt x="164" y="274"/>
                  </a:lnTo>
                  <a:lnTo>
                    <a:pt x="152" y="271"/>
                  </a:lnTo>
                  <a:lnTo>
                    <a:pt x="139" y="267"/>
                  </a:lnTo>
                  <a:lnTo>
                    <a:pt x="128" y="262"/>
                  </a:lnTo>
                  <a:lnTo>
                    <a:pt x="116" y="257"/>
                  </a:lnTo>
                  <a:lnTo>
                    <a:pt x="105" y="250"/>
                  </a:lnTo>
                  <a:lnTo>
                    <a:pt x="96" y="242"/>
                  </a:lnTo>
                  <a:lnTo>
                    <a:pt x="87" y="234"/>
                  </a:lnTo>
                  <a:lnTo>
                    <a:pt x="77" y="225"/>
                  </a:lnTo>
                  <a:lnTo>
                    <a:pt x="71" y="214"/>
                  </a:lnTo>
                  <a:lnTo>
                    <a:pt x="64" y="204"/>
                  </a:lnTo>
                  <a:lnTo>
                    <a:pt x="58" y="192"/>
                  </a:lnTo>
                  <a:lnTo>
                    <a:pt x="53" y="179"/>
                  </a:lnTo>
                  <a:lnTo>
                    <a:pt x="51" y="166"/>
                  </a:lnTo>
                  <a:lnTo>
                    <a:pt x="49" y="153"/>
                  </a:lnTo>
                  <a:lnTo>
                    <a:pt x="48" y="138"/>
                  </a:lnTo>
                  <a:lnTo>
                    <a:pt x="48" y="123"/>
                  </a:lnTo>
                  <a:lnTo>
                    <a:pt x="50" y="107"/>
                  </a:lnTo>
                  <a:lnTo>
                    <a:pt x="52" y="91"/>
                  </a:lnTo>
                  <a:lnTo>
                    <a:pt x="57" y="74"/>
                  </a:lnTo>
                  <a:lnTo>
                    <a:pt x="64" y="57"/>
                  </a:lnTo>
                  <a:lnTo>
                    <a:pt x="71" y="39"/>
                  </a:lnTo>
                  <a:lnTo>
                    <a:pt x="80" y="21"/>
                  </a:lnTo>
                  <a:lnTo>
                    <a:pt x="82" y="18"/>
                  </a:lnTo>
                  <a:lnTo>
                    <a:pt x="83" y="15"/>
                  </a:lnTo>
                  <a:lnTo>
                    <a:pt x="83" y="13"/>
                  </a:lnTo>
                  <a:lnTo>
                    <a:pt x="82" y="10"/>
                  </a:lnTo>
                  <a:lnTo>
                    <a:pt x="81" y="6"/>
                  </a:lnTo>
                  <a:lnTo>
                    <a:pt x="76" y="2"/>
                  </a:lnTo>
                  <a:lnTo>
                    <a:pt x="72" y="0"/>
                  </a:lnTo>
                  <a:lnTo>
                    <a:pt x="67" y="0"/>
                  </a:lnTo>
                  <a:lnTo>
                    <a:pt x="64" y="1"/>
                  </a:lnTo>
                  <a:lnTo>
                    <a:pt x="61" y="2"/>
                  </a:lnTo>
                  <a:lnTo>
                    <a:pt x="58" y="5"/>
                  </a:lnTo>
                  <a:lnTo>
                    <a:pt x="56" y="8"/>
                  </a:lnTo>
                  <a:lnTo>
                    <a:pt x="48" y="19"/>
                  </a:lnTo>
                  <a:lnTo>
                    <a:pt x="39" y="35"/>
                  </a:lnTo>
                  <a:lnTo>
                    <a:pt x="30" y="54"/>
                  </a:lnTo>
                  <a:lnTo>
                    <a:pt x="22" y="74"/>
                  </a:lnTo>
                  <a:lnTo>
                    <a:pt x="14" y="98"/>
                  </a:lnTo>
                  <a:lnTo>
                    <a:pt x="7" y="123"/>
                  </a:lnTo>
                  <a:lnTo>
                    <a:pt x="4" y="137"/>
                  </a:lnTo>
                  <a:lnTo>
                    <a:pt x="2" y="151"/>
                  </a:lnTo>
                  <a:lnTo>
                    <a:pt x="1" y="165"/>
                  </a:lnTo>
                  <a:lnTo>
                    <a:pt x="0" y="179"/>
                  </a:lnTo>
                  <a:lnTo>
                    <a:pt x="0" y="194"/>
                  </a:lnTo>
                  <a:lnTo>
                    <a:pt x="0" y="209"/>
                  </a:lnTo>
                  <a:lnTo>
                    <a:pt x="2" y="223"/>
                  </a:lnTo>
                  <a:lnTo>
                    <a:pt x="4" y="238"/>
                  </a:lnTo>
                  <a:lnTo>
                    <a:pt x="8" y="253"/>
                  </a:lnTo>
                  <a:lnTo>
                    <a:pt x="12" y="268"/>
                  </a:lnTo>
                  <a:lnTo>
                    <a:pt x="18" y="283"/>
                  </a:lnTo>
                  <a:lnTo>
                    <a:pt x="25" y="298"/>
                  </a:lnTo>
                  <a:lnTo>
                    <a:pt x="33" y="312"/>
                  </a:lnTo>
                  <a:lnTo>
                    <a:pt x="42" y="326"/>
                  </a:lnTo>
                  <a:lnTo>
                    <a:pt x="52" y="341"/>
                  </a:lnTo>
                  <a:lnTo>
                    <a:pt x="65" y="355"/>
                  </a:lnTo>
                  <a:lnTo>
                    <a:pt x="79" y="368"/>
                  </a:lnTo>
                  <a:lnTo>
                    <a:pt x="93" y="381"/>
                  </a:lnTo>
                  <a:lnTo>
                    <a:pt x="110" y="393"/>
                  </a:lnTo>
                  <a:lnTo>
                    <a:pt x="129" y="406"/>
                  </a:lnTo>
                  <a:lnTo>
                    <a:pt x="145" y="413"/>
                  </a:lnTo>
                  <a:lnTo>
                    <a:pt x="163" y="420"/>
                  </a:lnTo>
                  <a:lnTo>
                    <a:pt x="173" y="423"/>
                  </a:lnTo>
                  <a:lnTo>
                    <a:pt x="183" y="426"/>
                  </a:lnTo>
                  <a:lnTo>
                    <a:pt x="195" y="430"/>
                  </a:lnTo>
                  <a:lnTo>
                    <a:pt x="207" y="432"/>
                  </a:lnTo>
                  <a:lnTo>
                    <a:pt x="221" y="434"/>
                  </a:lnTo>
                  <a:lnTo>
                    <a:pt x="236" y="435"/>
                  </a:lnTo>
                  <a:lnTo>
                    <a:pt x="252" y="435"/>
                  </a:lnTo>
                  <a:lnTo>
                    <a:pt x="269" y="434"/>
                  </a:lnTo>
                  <a:lnTo>
                    <a:pt x="288" y="433"/>
                  </a:lnTo>
                  <a:lnTo>
                    <a:pt x="310" y="430"/>
                  </a:lnTo>
                  <a:lnTo>
                    <a:pt x="333" y="424"/>
                  </a:lnTo>
                  <a:lnTo>
                    <a:pt x="358" y="418"/>
                  </a:lnTo>
                  <a:lnTo>
                    <a:pt x="389" y="528"/>
                  </a:lnTo>
                  <a:lnTo>
                    <a:pt x="560" y="239"/>
                  </a:lnTo>
                  <a:close/>
                </a:path>
              </a:pathLst>
            </a:custGeom>
            <a:solidFill>
              <a:srgbClr val="CE202A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3839355" y="2358251"/>
            <a:ext cx="1599605" cy="1547601"/>
            <a:chOff x="5400151" y="3120967"/>
            <a:chExt cx="1065306" cy="1030672"/>
          </a:xfrm>
        </p:grpSpPr>
        <p:grpSp>
          <p:nvGrpSpPr>
            <p:cNvPr id="13" name="Group 12"/>
            <p:cNvGrpSpPr/>
            <p:nvPr/>
          </p:nvGrpSpPr>
          <p:grpSpPr>
            <a:xfrm>
              <a:off x="5400151" y="3628524"/>
              <a:ext cx="1065306" cy="523115"/>
              <a:chOff x="7091363" y="2232025"/>
              <a:chExt cx="2305050" cy="1131888"/>
            </a:xfrm>
          </p:grpSpPr>
          <p:sp>
            <p:nvSpPr>
              <p:cNvPr id="14" name="Freeform 44"/>
              <p:cNvSpPr>
                <a:spLocks/>
              </p:cNvSpPr>
              <p:nvPr/>
            </p:nvSpPr>
            <p:spPr bwMode="auto">
              <a:xfrm>
                <a:off x="7091363" y="2384425"/>
                <a:ext cx="2305050" cy="979488"/>
              </a:xfrm>
              <a:custGeom>
                <a:avLst/>
                <a:gdLst>
                  <a:gd name="T0" fmla="*/ 2904 w 2904"/>
                  <a:gd name="T1" fmla="*/ 837 h 1234"/>
                  <a:gd name="T2" fmla="*/ 2904 w 2904"/>
                  <a:gd name="T3" fmla="*/ 189 h 1234"/>
                  <a:gd name="T4" fmla="*/ 1023 w 2904"/>
                  <a:gd name="T5" fmla="*/ 429 h 1234"/>
                  <a:gd name="T6" fmla="*/ 0 w 2904"/>
                  <a:gd name="T7" fmla="*/ 0 h 1234"/>
                  <a:gd name="T8" fmla="*/ 0 w 2904"/>
                  <a:gd name="T9" fmla="*/ 796 h 1234"/>
                  <a:gd name="T10" fmla="*/ 940 w 2904"/>
                  <a:gd name="T11" fmla="*/ 1234 h 1234"/>
                  <a:gd name="T12" fmla="*/ 2904 w 2904"/>
                  <a:gd name="T13" fmla="*/ 837 h 1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4" h="1234">
                    <a:moveTo>
                      <a:pt x="2904" y="837"/>
                    </a:moveTo>
                    <a:lnTo>
                      <a:pt x="2904" y="189"/>
                    </a:lnTo>
                    <a:lnTo>
                      <a:pt x="1023" y="429"/>
                    </a:lnTo>
                    <a:lnTo>
                      <a:pt x="0" y="0"/>
                    </a:lnTo>
                    <a:lnTo>
                      <a:pt x="0" y="796"/>
                    </a:lnTo>
                    <a:lnTo>
                      <a:pt x="940" y="1234"/>
                    </a:lnTo>
                    <a:lnTo>
                      <a:pt x="2904" y="837"/>
                    </a:lnTo>
                    <a:close/>
                  </a:path>
                </a:pathLst>
              </a:custGeom>
              <a:solidFill>
                <a:srgbClr val="2A9B1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45"/>
              <p:cNvSpPr>
                <a:spLocks/>
              </p:cNvSpPr>
              <p:nvPr/>
            </p:nvSpPr>
            <p:spPr bwMode="auto">
              <a:xfrm>
                <a:off x="7091363" y="2232025"/>
                <a:ext cx="2305050" cy="492125"/>
              </a:xfrm>
              <a:custGeom>
                <a:avLst/>
                <a:gdLst>
                  <a:gd name="T0" fmla="*/ 2016 w 2904"/>
                  <a:gd name="T1" fmla="*/ 0 h 621"/>
                  <a:gd name="T2" fmla="*/ 2904 w 2904"/>
                  <a:gd name="T3" fmla="*/ 381 h 621"/>
                  <a:gd name="T4" fmla="*/ 1023 w 2904"/>
                  <a:gd name="T5" fmla="*/ 621 h 621"/>
                  <a:gd name="T6" fmla="*/ 0 w 2904"/>
                  <a:gd name="T7" fmla="*/ 192 h 621"/>
                  <a:gd name="T8" fmla="*/ 2016 w 2904"/>
                  <a:gd name="T9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04" h="621">
                    <a:moveTo>
                      <a:pt x="2016" y="0"/>
                    </a:moveTo>
                    <a:lnTo>
                      <a:pt x="2904" y="381"/>
                    </a:lnTo>
                    <a:lnTo>
                      <a:pt x="1023" y="621"/>
                    </a:lnTo>
                    <a:lnTo>
                      <a:pt x="0" y="192"/>
                    </a:lnTo>
                    <a:lnTo>
                      <a:pt x="2016" y="0"/>
                    </a:lnTo>
                    <a:close/>
                  </a:path>
                </a:pathLst>
              </a:custGeom>
              <a:solidFill>
                <a:srgbClr val="23A50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46"/>
              <p:cNvSpPr>
                <a:spLocks noEditPoints="1"/>
              </p:cNvSpPr>
              <p:nvPr/>
            </p:nvSpPr>
            <p:spPr bwMode="auto">
              <a:xfrm>
                <a:off x="7242176" y="2270125"/>
                <a:ext cx="2012950" cy="415925"/>
              </a:xfrm>
              <a:custGeom>
                <a:avLst/>
                <a:gdLst>
                  <a:gd name="T0" fmla="*/ 840 w 2536"/>
                  <a:gd name="T1" fmla="*/ 525 h 525"/>
                  <a:gd name="T2" fmla="*/ 844 w 2536"/>
                  <a:gd name="T3" fmla="*/ 525 h 525"/>
                  <a:gd name="T4" fmla="*/ 2536 w 2536"/>
                  <a:gd name="T5" fmla="*/ 308 h 525"/>
                  <a:gd name="T6" fmla="*/ 1818 w 2536"/>
                  <a:gd name="T7" fmla="*/ 0 h 525"/>
                  <a:gd name="T8" fmla="*/ 1814 w 2536"/>
                  <a:gd name="T9" fmla="*/ 0 h 525"/>
                  <a:gd name="T10" fmla="*/ 0 w 2536"/>
                  <a:gd name="T11" fmla="*/ 173 h 525"/>
                  <a:gd name="T12" fmla="*/ 840 w 2536"/>
                  <a:gd name="T13" fmla="*/ 525 h 525"/>
                  <a:gd name="T14" fmla="*/ 2418 w 2536"/>
                  <a:gd name="T15" fmla="*/ 291 h 525"/>
                  <a:gd name="T16" fmla="*/ 844 w 2536"/>
                  <a:gd name="T17" fmla="*/ 492 h 525"/>
                  <a:gd name="T18" fmla="*/ 128 w 2536"/>
                  <a:gd name="T19" fmla="*/ 193 h 525"/>
                  <a:gd name="T20" fmla="*/ 1813 w 2536"/>
                  <a:gd name="T21" fmla="*/ 31 h 525"/>
                  <a:gd name="T22" fmla="*/ 2418 w 2536"/>
                  <a:gd name="T23" fmla="*/ 291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36" h="525">
                    <a:moveTo>
                      <a:pt x="840" y="525"/>
                    </a:moveTo>
                    <a:lnTo>
                      <a:pt x="844" y="525"/>
                    </a:lnTo>
                    <a:lnTo>
                      <a:pt x="2536" y="308"/>
                    </a:lnTo>
                    <a:lnTo>
                      <a:pt x="1818" y="0"/>
                    </a:lnTo>
                    <a:lnTo>
                      <a:pt x="1814" y="0"/>
                    </a:lnTo>
                    <a:lnTo>
                      <a:pt x="0" y="173"/>
                    </a:lnTo>
                    <a:lnTo>
                      <a:pt x="840" y="525"/>
                    </a:lnTo>
                    <a:close/>
                    <a:moveTo>
                      <a:pt x="2418" y="291"/>
                    </a:moveTo>
                    <a:lnTo>
                      <a:pt x="844" y="492"/>
                    </a:lnTo>
                    <a:lnTo>
                      <a:pt x="128" y="193"/>
                    </a:lnTo>
                    <a:lnTo>
                      <a:pt x="1813" y="31"/>
                    </a:lnTo>
                    <a:lnTo>
                      <a:pt x="2418" y="291"/>
                    </a:lnTo>
                    <a:close/>
                  </a:path>
                </a:pathLst>
              </a:custGeom>
              <a:solidFill>
                <a:srgbClr val="FFD75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47"/>
              <p:cNvSpPr>
                <a:spLocks/>
              </p:cNvSpPr>
              <p:nvPr/>
            </p:nvSpPr>
            <p:spPr bwMode="auto">
              <a:xfrm>
                <a:off x="7900988" y="2270125"/>
                <a:ext cx="1031875" cy="946150"/>
              </a:xfrm>
              <a:custGeom>
                <a:avLst/>
                <a:gdLst>
                  <a:gd name="T0" fmla="*/ 1299 w 1299"/>
                  <a:gd name="T1" fmla="*/ 407 h 1192"/>
                  <a:gd name="T2" fmla="*/ 1299 w 1299"/>
                  <a:gd name="T3" fmla="*/ 1099 h 1192"/>
                  <a:gd name="T4" fmla="*/ 837 w 1299"/>
                  <a:gd name="T5" fmla="*/ 1192 h 1192"/>
                  <a:gd name="T6" fmla="*/ 837 w 1299"/>
                  <a:gd name="T7" fmla="*/ 466 h 1192"/>
                  <a:gd name="T8" fmla="*/ 0 w 1299"/>
                  <a:gd name="T9" fmla="*/ 47 h 1192"/>
                  <a:gd name="T10" fmla="*/ 496 w 1299"/>
                  <a:gd name="T11" fmla="*/ 0 h 1192"/>
                  <a:gd name="T12" fmla="*/ 1299 w 1299"/>
                  <a:gd name="T13" fmla="*/ 407 h 1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99" h="1192">
                    <a:moveTo>
                      <a:pt x="1299" y="407"/>
                    </a:moveTo>
                    <a:lnTo>
                      <a:pt x="1299" y="1099"/>
                    </a:lnTo>
                    <a:lnTo>
                      <a:pt x="837" y="1192"/>
                    </a:lnTo>
                    <a:lnTo>
                      <a:pt x="837" y="466"/>
                    </a:lnTo>
                    <a:lnTo>
                      <a:pt x="0" y="47"/>
                    </a:lnTo>
                    <a:lnTo>
                      <a:pt x="496" y="0"/>
                    </a:lnTo>
                    <a:lnTo>
                      <a:pt x="1299" y="407"/>
                    </a:lnTo>
                    <a:close/>
                  </a:path>
                </a:pathLst>
              </a:custGeom>
              <a:solidFill>
                <a:srgbClr val="FFDE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48"/>
              <p:cNvSpPr>
                <a:spLocks/>
              </p:cNvSpPr>
              <p:nvPr/>
            </p:nvSpPr>
            <p:spPr bwMode="auto">
              <a:xfrm>
                <a:off x="8566151" y="2592388"/>
                <a:ext cx="366713" cy="623888"/>
              </a:xfrm>
              <a:custGeom>
                <a:avLst/>
                <a:gdLst>
                  <a:gd name="T0" fmla="*/ 462 w 462"/>
                  <a:gd name="T1" fmla="*/ 0 h 785"/>
                  <a:gd name="T2" fmla="*/ 462 w 462"/>
                  <a:gd name="T3" fmla="*/ 692 h 785"/>
                  <a:gd name="T4" fmla="*/ 0 w 462"/>
                  <a:gd name="T5" fmla="*/ 785 h 785"/>
                  <a:gd name="T6" fmla="*/ 0 w 462"/>
                  <a:gd name="T7" fmla="*/ 59 h 785"/>
                  <a:gd name="T8" fmla="*/ 462 w 462"/>
                  <a:gd name="T9" fmla="*/ 0 h 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2" h="785">
                    <a:moveTo>
                      <a:pt x="462" y="0"/>
                    </a:moveTo>
                    <a:lnTo>
                      <a:pt x="462" y="692"/>
                    </a:lnTo>
                    <a:lnTo>
                      <a:pt x="0" y="785"/>
                    </a:lnTo>
                    <a:lnTo>
                      <a:pt x="0" y="59"/>
                    </a:lnTo>
                    <a:lnTo>
                      <a:pt x="462" y="0"/>
                    </a:lnTo>
                    <a:close/>
                  </a:path>
                </a:pathLst>
              </a:custGeom>
              <a:solidFill>
                <a:srgbClr val="EFCA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2" name="TextBox 1"/>
            <p:cNvSpPr txBox="1"/>
            <p:nvPr/>
          </p:nvSpPr>
          <p:spPr>
            <a:xfrm>
              <a:off x="5532844" y="3120967"/>
              <a:ext cx="706944" cy="799396"/>
            </a:xfrm>
            <a:prstGeom prst="rect">
              <a:avLst/>
            </a:prstGeom>
            <a:noFill/>
            <a:ln w="3175">
              <a:noFill/>
              <a:round/>
              <a:headEnd/>
              <a:tailEnd/>
            </a:ln>
            <a:effectLst/>
          </p:spPr>
          <p:txBody>
            <a:bodyPr wrap="none" tIns="91440" bIns="91440" rtlCol="0" anchor="ctr">
              <a:spAutoFit/>
            </a:bodyPr>
            <a:lstStyle/>
            <a:p>
              <a:r>
                <a:rPr lang="en-US" sz="6600" b="1" dirty="0" smtClean="0">
                  <a:solidFill>
                    <a:srgbClr val="CE202A"/>
                  </a:solidFill>
                </a:rPr>
                <a:t>-%</a:t>
              </a:r>
              <a:endParaRPr lang="en-US" sz="6600" b="1" dirty="0">
                <a:solidFill>
                  <a:srgbClr val="CE202A"/>
                </a:solidFill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647634" y="2231175"/>
            <a:ext cx="1158403" cy="1726454"/>
            <a:chOff x="2209800" y="3330104"/>
            <a:chExt cx="1600200" cy="2384896"/>
          </a:xfrm>
        </p:grpSpPr>
        <p:sp>
          <p:nvSpPr>
            <p:cNvPr id="4" name="Rectangle 3"/>
            <p:cNvSpPr/>
            <p:nvPr/>
          </p:nvSpPr>
          <p:spPr>
            <a:xfrm>
              <a:off x="2209800" y="3562814"/>
              <a:ext cx="1600200" cy="215218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Freeform 49"/>
            <p:cNvSpPr>
              <a:spLocks/>
            </p:cNvSpPr>
            <p:nvPr/>
          </p:nvSpPr>
          <p:spPr bwMode="auto">
            <a:xfrm>
              <a:off x="2900238" y="3330104"/>
              <a:ext cx="209442" cy="100844"/>
            </a:xfrm>
            <a:custGeom>
              <a:avLst/>
              <a:gdLst>
                <a:gd name="T0" fmla="*/ 67 w 139"/>
                <a:gd name="T1" fmla="*/ 34 h 67"/>
                <a:gd name="T2" fmla="*/ 84 w 139"/>
                <a:gd name="T3" fmla="*/ 38 h 67"/>
                <a:gd name="T4" fmla="*/ 90 w 139"/>
                <a:gd name="T5" fmla="*/ 44 h 67"/>
                <a:gd name="T6" fmla="*/ 101 w 139"/>
                <a:gd name="T7" fmla="*/ 55 h 67"/>
                <a:gd name="T8" fmla="*/ 101 w 139"/>
                <a:gd name="T9" fmla="*/ 67 h 67"/>
                <a:gd name="T10" fmla="*/ 139 w 139"/>
                <a:gd name="T11" fmla="*/ 67 h 67"/>
                <a:gd name="T12" fmla="*/ 134 w 139"/>
                <a:gd name="T13" fmla="*/ 44 h 67"/>
                <a:gd name="T14" fmla="*/ 117 w 139"/>
                <a:gd name="T15" fmla="*/ 23 h 67"/>
                <a:gd name="T16" fmla="*/ 95 w 139"/>
                <a:gd name="T17" fmla="*/ 6 h 67"/>
                <a:gd name="T18" fmla="*/ 67 w 139"/>
                <a:gd name="T19" fmla="*/ 0 h 67"/>
                <a:gd name="T20" fmla="*/ 39 w 139"/>
                <a:gd name="T21" fmla="*/ 6 h 67"/>
                <a:gd name="T22" fmla="*/ 17 w 139"/>
                <a:gd name="T23" fmla="*/ 23 h 67"/>
                <a:gd name="T24" fmla="*/ 6 w 139"/>
                <a:gd name="T25" fmla="*/ 44 h 67"/>
                <a:gd name="T26" fmla="*/ 0 w 139"/>
                <a:gd name="T27" fmla="*/ 67 h 67"/>
                <a:gd name="T28" fmla="*/ 34 w 139"/>
                <a:gd name="T29" fmla="*/ 67 h 67"/>
                <a:gd name="T30" fmla="*/ 39 w 139"/>
                <a:gd name="T31" fmla="*/ 55 h 67"/>
                <a:gd name="T32" fmla="*/ 44 w 139"/>
                <a:gd name="T33" fmla="*/ 44 h 67"/>
                <a:gd name="T34" fmla="*/ 56 w 139"/>
                <a:gd name="T35" fmla="*/ 38 h 67"/>
                <a:gd name="T36" fmla="*/ 67 w 139"/>
                <a:gd name="T37" fmla="*/ 3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9" h="67">
                  <a:moveTo>
                    <a:pt x="67" y="34"/>
                  </a:moveTo>
                  <a:lnTo>
                    <a:pt x="84" y="38"/>
                  </a:lnTo>
                  <a:lnTo>
                    <a:pt x="90" y="44"/>
                  </a:lnTo>
                  <a:lnTo>
                    <a:pt x="101" y="55"/>
                  </a:lnTo>
                  <a:lnTo>
                    <a:pt x="101" y="67"/>
                  </a:lnTo>
                  <a:lnTo>
                    <a:pt x="139" y="67"/>
                  </a:lnTo>
                  <a:lnTo>
                    <a:pt x="134" y="44"/>
                  </a:lnTo>
                  <a:lnTo>
                    <a:pt x="117" y="23"/>
                  </a:lnTo>
                  <a:lnTo>
                    <a:pt x="95" y="6"/>
                  </a:lnTo>
                  <a:lnTo>
                    <a:pt x="67" y="0"/>
                  </a:lnTo>
                  <a:lnTo>
                    <a:pt x="39" y="6"/>
                  </a:lnTo>
                  <a:lnTo>
                    <a:pt x="17" y="23"/>
                  </a:lnTo>
                  <a:lnTo>
                    <a:pt x="6" y="44"/>
                  </a:lnTo>
                  <a:lnTo>
                    <a:pt x="0" y="67"/>
                  </a:lnTo>
                  <a:lnTo>
                    <a:pt x="34" y="67"/>
                  </a:lnTo>
                  <a:lnTo>
                    <a:pt x="39" y="55"/>
                  </a:lnTo>
                  <a:lnTo>
                    <a:pt x="44" y="44"/>
                  </a:lnTo>
                  <a:lnTo>
                    <a:pt x="56" y="38"/>
                  </a:lnTo>
                  <a:lnTo>
                    <a:pt x="67" y="34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50"/>
            <p:cNvSpPr>
              <a:spLocks/>
            </p:cNvSpPr>
            <p:nvPr/>
          </p:nvSpPr>
          <p:spPr bwMode="auto">
            <a:xfrm>
              <a:off x="2628745" y="3438702"/>
              <a:ext cx="744674" cy="248225"/>
            </a:xfrm>
            <a:custGeom>
              <a:avLst/>
              <a:gdLst>
                <a:gd name="T0" fmla="*/ 478 w 478"/>
                <a:gd name="T1" fmla="*/ 50 h 156"/>
                <a:gd name="T2" fmla="*/ 473 w 478"/>
                <a:gd name="T3" fmla="*/ 33 h 156"/>
                <a:gd name="T4" fmla="*/ 467 w 478"/>
                <a:gd name="T5" fmla="*/ 17 h 156"/>
                <a:gd name="T6" fmla="*/ 456 w 478"/>
                <a:gd name="T7" fmla="*/ 12 h 156"/>
                <a:gd name="T8" fmla="*/ 439 w 478"/>
                <a:gd name="T9" fmla="*/ 0 h 156"/>
                <a:gd name="T10" fmla="*/ 417 w 478"/>
                <a:gd name="T11" fmla="*/ 0 h 156"/>
                <a:gd name="T12" fmla="*/ 412 w 478"/>
                <a:gd name="T13" fmla="*/ 0 h 156"/>
                <a:gd name="T14" fmla="*/ 245 w 478"/>
                <a:gd name="T15" fmla="*/ 0 h 156"/>
                <a:gd name="T16" fmla="*/ 233 w 478"/>
                <a:gd name="T17" fmla="*/ 0 h 156"/>
                <a:gd name="T18" fmla="*/ 72 w 478"/>
                <a:gd name="T19" fmla="*/ 0 h 156"/>
                <a:gd name="T20" fmla="*/ 62 w 478"/>
                <a:gd name="T21" fmla="*/ 0 h 156"/>
                <a:gd name="T22" fmla="*/ 39 w 478"/>
                <a:gd name="T23" fmla="*/ 0 h 156"/>
                <a:gd name="T24" fmla="*/ 28 w 478"/>
                <a:gd name="T25" fmla="*/ 12 h 156"/>
                <a:gd name="T26" fmla="*/ 17 w 478"/>
                <a:gd name="T27" fmla="*/ 17 h 156"/>
                <a:gd name="T28" fmla="*/ 5 w 478"/>
                <a:gd name="T29" fmla="*/ 33 h 156"/>
                <a:gd name="T30" fmla="*/ 0 w 478"/>
                <a:gd name="T31" fmla="*/ 50 h 156"/>
                <a:gd name="T32" fmla="*/ 0 w 478"/>
                <a:gd name="T33" fmla="*/ 111 h 156"/>
                <a:gd name="T34" fmla="*/ 0 w 478"/>
                <a:gd name="T35" fmla="*/ 128 h 156"/>
                <a:gd name="T36" fmla="*/ 11 w 478"/>
                <a:gd name="T37" fmla="*/ 145 h 156"/>
                <a:gd name="T38" fmla="*/ 17 w 478"/>
                <a:gd name="T39" fmla="*/ 150 h 156"/>
                <a:gd name="T40" fmla="*/ 33 w 478"/>
                <a:gd name="T41" fmla="*/ 156 h 156"/>
                <a:gd name="T42" fmla="*/ 233 w 478"/>
                <a:gd name="T43" fmla="*/ 156 h 156"/>
                <a:gd name="T44" fmla="*/ 245 w 478"/>
                <a:gd name="T45" fmla="*/ 156 h 156"/>
                <a:gd name="T46" fmla="*/ 444 w 478"/>
                <a:gd name="T47" fmla="*/ 156 h 156"/>
                <a:gd name="T48" fmla="*/ 461 w 478"/>
                <a:gd name="T49" fmla="*/ 150 h 156"/>
                <a:gd name="T50" fmla="*/ 473 w 478"/>
                <a:gd name="T51" fmla="*/ 145 h 156"/>
                <a:gd name="T52" fmla="*/ 478 w 478"/>
                <a:gd name="T53" fmla="*/ 128 h 156"/>
                <a:gd name="T54" fmla="*/ 478 w 478"/>
                <a:gd name="T55" fmla="*/ 111 h 156"/>
                <a:gd name="T56" fmla="*/ 478 w 478"/>
                <a:gd name="T57" fmla="*/ 5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78" h="156">
                  <a:moveTo>
                    <a:pt x="478" y="50"/>
                  </a:moveTo>
                  <a:lnTo>
                    <a:pt x="473" y="33"/>
                  </a:lnTo>
                  <a:lnTo>
                    <a:pt x="467" y="17"/>
                  </a:lnTo>
                  <a:lnTo>
                    <a:pt x="456" y="12"/>
                  </a:lnTo>
                  <a:lnTo>
                    <a:pt x="439" y="0"/>
                  </a:lnTo>
                  <a:lnTo>
                    <a:pt x="417" y="0"/>
                  </a:lnTo>
                  <a:lnTo>
                    <a:pt x="412" y="0"/>
                  </a:lnTo>
                  <a:lnTo>
                    <a:pt x="245" y="0"/>
                  </a:lnTo>
                  <a:lnTo>
                    <a:pt x="233" y="0"/>
                  </a:lnTo>
                  <a:lnTo>
                    <a:pt x="72" y="0"/>
                  </a:lnTo>
                  <a:lnTo>
                    <a:pt x="62" y="0"/>
                  </a:lnTo>
                  <a:lnTo>
                    <a:pt x="39" y="0"/>
                  </a:lnTo>
                  <a:lnTo>
                    <a:pt x="28" y="12"/>
                  </a:lnTo>
                  <a:lnTo>
                    <a:pt x="17" y="17"/>
                  </a:lnTo>
                  <a:lnTo>
                    <a:pt x="5" y="33"/>
                  </a:lnTo>
                  <a:lnTo>
                    <a:pt x="0" y="50"/>
                  </a:lnTo>
                  <a:lnTo>
                    <a:pt x="0" y="111"/>
                  </a:lnTo>
                  <a:lnTo>
                    <a:pt x="0" y="128"/>
                  </a:lnTo>
                  <a:lnTo>
                    <a:pt x="11" y="145"/>
                  </a:lnTo>
                  <a:lnTo>
                    <a:pt x="17" y="150"/>
                  </a:lnTo>
                  <a:lnTo>
                    <a:pt x="33" y="156"/>
                  </a:lnTo>
                  <a:lnTo>
                    <a:pt x="233" y="156"/>
                  </a:lnTo>
                  <a:lnTo>
                    <a:pt x="245" y="156"/>
                  </a:lnTo>
                  <a:lnTo>
                    <a:pt x="444" y="156"/>
                  </a:lnTo>
                  <a:lnTo>
                    <a:pt x="461" y="150"/>
                  </a:lnTo>
                  <a:lnTo>
                    <a:pt x="473" y="145"/>
                  </a:lnTo>
                  <a:lnTo>
                    <a:pt x="478" y="128"/>
                  </a:lnTo>
                  <a:lnTo>
                    <a:pt x="478" y="111"/>
                  </a:lnTo>
                  <a:lnTo>
                    <a:pt x="478" y="50"/>
                  </a:lnTo>
                  <a:close/>
                </a:path>
              </a:pathLst>
            </a:cu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51"/>
            <p:cNvSpPr>
              <a:spLocks/>
            </p:cNvSpPr>
            <p:nvPr/>
          </p:nvSpPr>
          <p:spPr bwMode="auto">
            <a:xfrm>
              <a:off x="2636500" y="3454216"/>
              <a:ext cx="729159" cy="62056"/>
            </a:xfrm>
            <a:custGeom>
              <a:avLst/>
              <a:gdLst>
                <a:gd name="T0" fmla="*/ 412 w 468"/>
                <a:gd name="T1" fmla="*/ 0 h 44"/>
                <a:gd name="T2" fmla="*/ 407 w 468"/>
                <a:gd name="T3" fmla="*/ 0 h 44"/>
                <a:gd name="T4" fmla="*/ 61 w 468"/>
                <a:gd name="T5" fmla="*/ 0 h 44"/>
                <a:gd name="T6" fmla="*/ 45 w 468"/>
                <a:gd name="T7" fmla="*/ 0 h 44"/>
                <a:gd name="T8" fmla="*/ 28 w 468"/>
                <a:gd name="T9" fmla="*/ 6 h 44"/>
                <a:gd name="T10" fmla="*/ 12 w 468"/>
                <a:gd name="T11" fmla="*/ 17 h 44"/>
                <a:gd name="T12" fmla="*/ 6 w 468"/>
                <a:gd name="T13" fmla="*/ 27 h 44"/>
                <a:gd name="T14" fmla="*/ 0 w 468"/>
                <a:gd name="T15" fmla="*/ 44 h 44"/>
                <a:gd name="T16" fmla="*/ 468 w 468"/>
                <a:gd name="T17" fmla="*/ 44 h 44"/>
                <a:gd name="T18" fmla="*/ 462 w 468"/>
                <a:gd name="T19" fmla="*/ 27 h 44"/>
                <a:gd name="T20" fmla="*/ 456 w 468"/>
                <a:gd name="T21" fmla="*/ 17 h 44"/>
                <a:gd name="T22" fmla="*/ 445 w 468"/>
                <a:gd name="T23" fmla="*/ 6 h 44"/>
                <a:gd name="T24" fmla="*/ 423 w 468"/>
                <a:gd name="T25" fmla="*/ 0 h 44"/>
                <a:gd name="T26" fmla="*/ 412 w 468"/>
                <a:gd name="T2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8" h="44">
                  <a:moveTo>
                    <a:pt x="412" y="0"/>
                  </a:moveTo>
                  <a:lnTo>
                    <a:pt x="407" y="0"/>
                  </a:lnTo>
                  <a:lnTo>
                    <a:pt x="61" y="0"/>
                  </a:lnTo>
                  <a:lnTo>
                    <a:pt x="45" y="0"/>
                  </a:lnTo>
                  <a:lnTo>
                    <a:pt x="28" y="6"/>
                  </a:lnTo>
                  <a:lnTo>
                    <a:pt x="12" y="17"/>
                  </a:lnTo>
                  <a:lnTo>
                    <a:pt x="6" y="27"/>
                  </a:lnTo>
                  <a:lnTo>
                    <a:pt x="0" y="44"/>
                  </a:lnTo>
                  <a:lnTo>
                    <a:pt x="468" y="44"/>
                  </a:lnTo>
                  <a:lnTo>
                    <a:pt x="462" y="27"/>
                  </a:lnTo>
                  <a:lnTo>
                    <a:pt x="456" y="17"/>
                  </a:lnTo>
                  <a:lnTo>
                    <a:pt x="445" y="6"/>
                  </a:lnTo>
                  <a:lnTo>
                    <a:pt x="423" y="0"/>
                  </a:lnTo>
                  <a:lnTo>
                    <a:pt x="412" y="0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Rectangle 4"/>
            <p:cNvSpPr/>
            <p:nvPr/>
          </p:nvSpPr>
          <p:spPr>
            <a:xfrm>
              <a:off x="2438400" y="3855965"/>
              <a:ext cx="1143000" cy="14018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/>
          </p:nvSpPr>
          <p:spPr>
            <a:xfrm>
              <a:off x="2544434" y="4789692"/>
              <a:ext cx="190655" cy="228600"/>
            </a:xfrm>
            <a:prstGeom prst="rect">
              <a:avLst/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tangle 41"/>
            <p:cNvSpPr/>
            <p:nvPr/>
          </p:nvSpPr>
          <p:spPr>
            <a:xfrm>
              <a:off x="2790619" y="4698374"/>
              <a:ext cx="190655" cy="319918"/>
            </a:xfrm>
            <a:prstGeom prst="rect">
              <a:avLst/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tangle 42"/>
            <p:cNvSpPr/>
            <p:nvPr/>
          </p:nvSpPr>
          <p:spPr>
            <a:xfrm>
              <a:off x="3036804" y="4561092"/>
              <a:ext cx="190655" cy="457200"/>
            </a:xfrm>
            <a:prstGeom prst="rect">
              <a:avLst/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/>
            <p:cNvSpPr/>
            <p:nvPr/>
          </p:nvSpPr>
          <p:spPr>
            <a:xfrm>
              <a:off x="3282989" y="4408692"/>
              <a:ext cx="190655" cy="609600"/>
            </a:xfrm>
            <a:prstGeom prst="rect">
              <a:avLst/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Rectangle 9"/>
          <p:cNvSpPr/>
          <p:nvPr/>
        </p:nvSpPr>
        <p:spPr>
          <a:xfrm>
            <a:off x="1178768" y="4352307"/>
            <a:ext cx="1599605" cy="152400"/>
          </a:xfrm>
          <a:prstGeom prst="rect">
            <a:avLst/>
          </a:prstGeom>
          <a:solidFill>
            <a:srgbClr val="0D65AC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/>
          <p:cNvSpPr/>
          <p:nvPr/>
        </p:nvSpPr>
        <p:spPr>
          <a:xfrm>
            <a:off x="3839355" y="4352307"/>
            <a:ext cx="1599605" cy="152400"/>
          </a:xfrm>
          <a:prstGeom prst="rect">
            <a:avLst/>
          </a:prstGeom>
          <a:solidFill>
            <a:srgbClr val="0D65AC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/>
          <p:cNvSpPr/>
          <p:nvPr/>
        </p:nvSpPr>
        <p:spPr>
          <a:xfrm>
            <a:off x="6427033" y="4352307"/>
            <a:ext cx="1599605" cy="152400"/>
          </a:xfrm>
          <a:prstGeom prst="rect">
            <a:avLst/>
          </a:prstGeom>
          <a:solidFill>
            <a:srgbClr val="0D65AC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1178768" y="4504707"/>
            <a:ext cx="1599605" cy="615553"/>
          </a:xfrm>
          <a:prstGeom prst="rect">
            <a:avLst/>
          </a:prstGeom>
          <a:noFill/>
          <a:ln w="3175">
            <a:noFill/>
            <a:round/>
            <a:headEnd/>
            <a:tailEnd/>
          </a:ln>
          <a:effectLst/>
        </p:spPr>
        <p:txBody>
          <a:bodyPr wrap="square" tIns="91440" bIns="91440" rtlCol="0" anchor="ctr">
            <a:spAutoFit/>
          </a:bodyPr>
          <a:lstStyle/>
          <a:p>
            <a:pPr algn="ctr"/>
            <a:r>
              <a:rPr lang="en-US" sz="2800" b="1" dirty="0" smtClean="0"/>
              <a:t>INCOME</a:t>
            </a:r>
            <a:endParaRPr lang="en-US" sz="2800" b="1" dirty="0"/>
          </a:p>
        </p:txBody>
      </p:sp>
      <p:sp>
        <p:nvSpPr>
          <p:cNvPr id="52" name="TextBox 51"/>
          <p:cNvSpPr txBox="1"/>
          <p:nvPr/>
        </p:nvSpPr>
        <p:spPr>
          <a:xfrm>
            <a:off x="3839355" y="4504707"/>
            <a:ext cx="1599605" cy="615553"/>
          </a:xfrm>
          <a:prstGeom prst="rect">
            <a:avLst/>
          </a:prstGeom>
          <a:noFill/>
          <a:ln w="3175">
            <a:noFill/>
            <a:round/>
            <a:headEnd/>
            <a:tailEnd/>
          </a:ln>
          <a:effectLst/>
        </p:spPr>
        <p:txBody>
          <a:bodyPr wrap="square" tIns="91440" bIns="91440" rtlCol="0" anchor="ctr">
            <a:spAutoFit/>
          </a:bodyPr>
          <a:lstStyle/>
          <a:p>
            <a:pPr algn="ctr"/>
            <a:r>
              <a:rPr lang="en-US" sz="2800" b="1" dirty="0" smtClean="0"/>
              <a:t>TAX</a:t>
            </a:r>
            <a:endParaRPr lang="en-US" sz="2800" b="1" dirty="0"/>
          </a:p>
        </p:txBody>
      </p:sp>
      <p:sp>
        <p:nvSpPr>
          <p:cNvPr id="53" name="TextBox 52"/>
          <p:cNvSpPr txBox="1"/>
          <p:nvPr/>
        </p:nvSpPr>
        <p:spPr>
          <a:xfrm>
            <a:off x="6427033" y="4504707"/>
            <a:ext cx="1599605" cy="615553"/>
          </a:xfrm>
          <a:prstGeom prst="rect">
            <a:avLst/>
          </a:prstGeom>
          <a:noFill/>
          <a:ln w="3175">
            <a:noFill/>
            <a:round/>
            <a:headEnd/>
            <a:tailEnd/>
          </a:ln>
          <a:effectLst/>
        </p:spPr>
        <p:txBody>
          <a:bodyPr wrap="square" tIns="91440" bIns="91440" rtlCol="0" anchor="ctr">
            <a:spAutoFit/>
          </a:bodyPr>
          <a:lstStyle/>
          <a:p>
            <a:pPr algn="ctr"/>
            <a:r>
              <a:rPr lang="en-US" sz="2800" b="1" dirty="0" smtClean="0"/>
              <a:t>REPORT</a:t>
            </a:r>
            <a:endParaRPr lang="en-US" sz="2800" b="1" dirty="0"/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NAME OF PRESENTER</a:t>
            </a:r>
            <a:endParaRPr lang="en-US" dirty="0"/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069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1567583" y="2811903"/>
            <a:ext cx="5943600" cy="0"/>
          </a:xfrm>
          <a:prstGeom prst="line">
            <a:avLst/>
          </a:prstGeom>
          <a:ln w="38100">
            <a:solidFill>
              <a:srgbClr val="0D65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Slide Number Placeholder 8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7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381" name="TextBox 380"/>
          <p:cNvSpPr txBox="1"/>
          <p:nvPr/>
        </p:nvSpPr>
        <p:spPr>
          <a:xfrm>
            <a:off x="3105034" y="559832"/>
            <a:ext cx="29339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dirty="0" smtClean="0">
                <a:latin typeface="+mj-lt"/>
              </a:rPr>
              <a:t>FISCAL YEAR COMPARISON</a:t>
            </a:r>
          </a:p>
          <a:p>
            <a:pPr algn="ctr">
              <a:lnSpc>
                <a:spcPct val="80000"/>
              </a:lnSpc>
            </a:pPr>
            <a:r>
              <a:rPr lang="en-US" sz="1200" dirty="0" smtClean="0">
                <a:latin typeface="+mj-lt"/>
              </a:rPr>
              <a:t>Replace this text</a:t>
            </a:r>
          </a:p>
        </p:txBody>
      </p:sp>
      <p:cxnSp>
        <p:nvCxnSpPr>
          <p:cNvPr id="389" name="Straight Connector 388"/>
          <p:cNvCxnSpPr/>
          <p:nvPr/>
        </p:nvCxnSpPr>
        <p:spPr>
          <a:xfrm>
            <a:off x="2921000" y="1098729"/>
            <a:ext cx="33020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Oval 1"/>
          <p:cNvSpPr/>
          <p:nvPr/>
        </p:nvSpPr>
        <p:spPr>
          <a:xfrm>
            <a:off x="912166" y="2344710"/>
            <a:ext cx="934387" cy="934387"/>
          </a:xfrm>
          <a:prstGeom prst="ellipse">
            <a:avLst/>
          </a:prstGeom>
          <a:solidFill>
            <a:srgbClr val="073D69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201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390" name="Oval 389"/>
          <p:cNvSpPr/>
          <p:nvPr/>
        </p:nvSpPr>
        <p:spPr>
          <a:xfrm>
            <a:off x="3046612" y="2344710"/>
            <a:ext cx="934387" cy="934387"/>
          </a:xfrm>
          <a:prstGeom prst="ellipse">
            <a:avLst/>
          </a:prstGeom>
          <a:solidFill>
            <a:srgbClr val="2A9B18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2012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391" name="Oval 390"/>
          <p:cNvSpPr/>
          <p:nvPr/>
        </p:nvSpPr>
        <p:spPr>
          <a:xfrm>
            <a:off x="5155228" y="2344710"/>
            <a:ext cx="934387" cy="934387"/>
          </a:xfrm>
          <a:prstGeom prst="ellipse">
            <a:avLst/>
          </a:prstGeom>
          <a:solidFill>
            <a:srgbClr val="F0B71F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2013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392" name="Oval 391"/>
          <p:cNvSpPr/>
          <p:nvPr/>
        </p:nvSpPr>
        <p:spPr>
          <a:xfrm>
            <a:off x="7263844" y="2344710"/>
            <a:ext cx="934387" cy="934387"/>
          </a:xfrm>
          <a:prstGeom prst="ellipse">
            <a:avLst/>
          </a:prstGeom>
          <a:solidFill>
            <a:srgbClr val="CE202A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2014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 rot="5400000">
            <a:off x="1684129" y="4505975"/>
            <a:ext cx="1603005" cy="58654"/>
          </a:xfrm>
          <a:prstGeom prst="rect">
            <a:avLst/>
          </a:prstGeom>
          <a:solidFill>
            <a:srgbClr val="0D65AC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3" name="Rectangle 392"/>
          <p:cNvSpPr/>
          <p:nvPr/>
        </p:nvSpPr>
        <p:spPr>
          <a:xfrm rot="5400000">
            <a:off x="3779629" y="4505975"/>
            <a:ext cx="1603005" cy="58654"/>
          </a:xfrm>
          <a:prstGeom prst="rect">
            <a:avLst/>
          </a:prstGeom>
          <a:solidFill>
            <a:srgbClr val="0D65AC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4" name="Rectangle 393"/>
          <p:cNvSpPr/>
          <p:nvPr/>
        </p:nvSpPr>
        <p:spPr>
          <a:xfrm rot="5400000">
            <a:off x="5875129" y="4505975"/>
            <a:ext cx="1603005" cy="58654"/>
          </a:xfrm>
          <a:prstGeom prst="rect">
            <a:avLst/>
          </a:prstGeom>
          <a:solidFill>
            <a:srgbClr val="0D65AC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Freeform 5"/>
          <p:cNvSpPr>
            <a:spLocks noEditPoints="1"/>
          </p:cNvSpPr>
          <p:nvPr/>
        </p:nvSpPr>
        <p:spPr bwMode="auto">
          <a:xfrm>
            <a:off x="2708751" y="2012692"/>
            <a:ext cx="1598422" cy="1598422"/>
          </a:xfrm>
          <a:custGeom>
            <a:avLst/>
            <a:gdLst>
              <a:gd name="T0" fmla="*/ 832 w 1848"/>
              <a:gd name="T1" fmla="*/ 1842 h 1848"/>
              <a:gd name="T2" fmla="*/ 654 w 1848"/>
              <a:gd name="T3" fmla="*/ 1808 h 1848"/>
              <a:gd name="T4" fmla="*/ 488 w 1848"/>
              <a:gd name="T5" fmla="*/ 1738 h 1848"/>
              <a:gd name="T6" fmla="*/ 338 w 1848"/>
              <a:gd name="T7" fmla="*/ 1638 h 1848"/>
              <a:gd name="T8" fmla="*/ 238 w 1848"/>
              <a:gd name="T9" fmla="*/ 1542 h 1848"/>
              <a:gd name="T10" fmla="*/ 130 w 1848"/>
              <a:gd name="T11" fmla="*/ 1398 h 1848"/>
              <a:gd name="T12" fmla="*/ 54 w 1848"/>
              <a:gd name="T13" fmla="*/ 1234 h 1848"/>
              <a:gd name="T14" fmla="*/ 10 w 1848"/>
              <a:gd name="T15" fmla="*/ 1060 h 1848"/>
              <a:gd name="T16" fmla="*/ 0 w 1848"/>
              <a:gd name="T17" fmla="*/ 924 h 1848"/>
              <a:gd name="T18" fmla="*/ 18 w 1848"/>
              <a:gd name="T19" fmla="*/ 742 h 1848"/>
              <a:gd name="T20" fmla="*/ 70 w 1848"/>
              <a:gd name="T21" fmla="*/ 570 h 1848"/>
              <a:gd name="T22" fmla="*/ 154 w 1848"/>
              <a:gd name="T23" fmla="*/ 410 h 1848"/>
              <a:gd name="T24" fmla="*/ 270 w 1848"/>
              <a:gd name="T25" fmla="*/ 270 h 1848"/>
              <a:gd name="T26" fmla="*/ 374 w 1848"/>
              <a:gd name="T27" fmla="*/ 180 h 1848"/>
              <a:gd name="T28" fmla="*/ 530 w 1848"/>
              <a:gd name="T29" fmla="*/ 88 h 1848"/>
              <a:gd name="T30" fmla="*/ 698 w 1848"/>
              <a:gd name="T31" fmla="*/ 26 h 1848"/>
              <a:gd name="T32" fmla="*/ 878 w 1848"/>
              <a:gd name="T33" fmla="*/ 0 h 1848"/>
              <a:gd name="T34" fmla="*/ 1016 w 1848"/>
              <a:gd name="T35" fmla="*/ 4 h 1848"/>
              <a:gd name="T36" fmla="*/ 1194 w 1848"/>
              <a:gd name="T37" fmla="*/ 38 h 1848"/>
              <a:gd name="T38" fmla="*/ 1360 w 1848"/>
              <a:gd name="T39" fmla="*/ 108 h 1848"/>
              <a:gd name="T40" fmla="*/ 1510 w 1848"/>
              <a:gd name="T41" fmla="*/ 208 h 1848"/>
              <a:gd name="T42" fmla="*/ 1610 w 1848"/>
              <a:gd name="T43" fmla="*/ 304 h 1848"/>
              <a:gd name="T44" fmla="*/ 1718 w 1848"/>
              <a:gd name="T45" fmla="*/ 448 h 1848"/>
              <a:gd name="T46" fmla="*/ 1794 w 1848"/>
              <a:gd name="T47" fmla="*/ 612 h 1848"/>
              <a:gd name="T48" fmla="*/ 1838 w 1848"/>
              <a:gd name="T49" fmla="*/ 786 h 1848"/>
              <a:gd name="T50" fmla="*/ 1848 w 1848"/>
              <a:gd name="T51" fmla="*/ 924 h 1848"/>
              <a:gd name="T52" fmla="*/ 1830 w 1848"/>
              <a:gd name="T53" fmla="*/ 1104 h 1848"/>
              <a:gd name="T54" fmla="*/ 1778 w 1848"/>
              <a:gd name="T55" fmla="*/ 1276 h 1848"/>
              <a:gd name="T56" fmla="*/ 1694 w 1848"/>
              <a:gd name="T57" fmla="*/ 1436 h 1848"/>
              <a:gd name="T58" fmla="*/ 1578 w 1848"/>
              <a:gd name="T59" fmla="*/ 1576 h 1848"/>
              <a:gd name="T60" fmla="*/ 1474 w 1848"/>
              <a:gd name="T61" fmla="*/ 1666 h 1848"/>
              <a:gd name="T62" fmla="*/ 1318 w 1848"/>
              <a:gd name="T63" fmla="*/ 1758 h 1848"/>
              <a:gd name="T64" fmla="*/ 1150 w 1848"/>
              <a:gd name="T65" fmla="*/ 1820 h 1848"/>
              <a:gd name="T66" fmla="*/ 970 w 1848"/>
              <a:gd name="T67" fmla="*/ 1846 h 1848"/>
              <a:gd name="T68" fmla="*/ 924 w 1848"/>
              <a:gd name="T69" fmla="*/ 560 h 1848"/>
              <a:gd name="T70" fmla="*/ 784 w 1848"/>
              <a:gd name="T71" fmla="*/ 586 h 1848"/>
              <a:gd name="T72" fmla="*/ 666 w 1848"/>
              <a:gd name="T73" fmla="*/ 666 h 1848"/>
              <a:gd name="T74" fmla="*/ 602 w 1848"/>
              <a:gd name="T75" fmla="*/ 752 h 1848"/>
              <a:gd name="T76" fmla="*/ 562 w 1848"/>
              <a:gd name="T77" fmla="*/ 886 h 1848"/>
              <a:gd name="T78" fmla="*/ 568 w 1848"/>
              <a:gd name="T79" fmla="*/ 994 h 1848"/>
              <a:gd name="T80" fmla="*/ 622 w 1848"/>
              <a:gd name="T81" fmla="*/ 1124 h 1848"/>
              <a:gd name="T82" fmla="*/ 694 w 1848"/>
              <a:gd name="T83" fmla="*/ 1204 h 1848"/>
              <a:gd name="T84" fmla="*/ 818 w 1848"/>
              <a:gd name="T85" fmla="*/ 1272 h 1848"/>
              <a:gd name="T86" fmla="*/ 924 w 1848"/>
              <a:gd name="T87" fmla="*/ 1288 h 1848"/>
              <a:gd name="T88" fmla="*/ 1064 w 1848"/>
              <a:gd name="T89" fmla="*/ 1260 h 1848"/>
              <a:gd name="T90" fmla="*/ 1182 w 1848"/>
              <a:gd name="T91" fmla="*/ 1180 h 1848"/>
              <a:gd name="T92" fmla="*/ 1246 w 1848"/>
              <a:gd name="T93" fmla="*/ 1094 h 1848"/>
              <a:gd name="T94" fmla="*/ 1286 w 1848"/>
              <a:gd name="T95" fmla="*/ 960 h 1848"/>
              <a:gd name="T96" fmla="*/ 1282 w 1848"/>
              <a:gd name="T97" fmla="*/ 852 h 1848"/>
              <a:gd name="T98" fmla="*/ 1226 w 1848"/>
              <a:gd name="T99" fmla="*/ 722 h 1848"/>
              <a:gd name="T100" fmla="*/ 1154 w 1848"/>
              <a:gd name="T101" fmla="*/ 642 h 1848"/>
              <a:gd name="T102" fmla="*/ 1030 w 1848"/>
              <a:gd name="T103" fmla="*/ 574 h 1848"/>
              <a:gd name="T104" fmla="*/ 924 w 1848"/>
              <a:gd name="T105" fmla="*/ 560 h 1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848" h="1848">
                <a:moveTo>
                  <a:pt x="924" y="1848"/>
                </a:moveTo>
                <a:lnTo>
                  <a:pt x="924" y="1848"/>
                </a:lnTo>
                <a:lnTo>
                  <a:pt x="878" y="1846"/>
                </a:lnTo>
                <a:lnTo>
                  <a:pt x="832" y="1842"/>
                </a:lnTo>
                <a:lnTo>
                  <a:pt x="788" y="1836"/>
                </a:lnTo>
                <a:lnTo>
                  <a:pt x="742" y="1830"/>
                </a:lnTo>
                <a:lnTo>
                  <a:pt x="698" y="1820"/>
                </a:lnTo>
                <a:lnTo>
                  <a:pt x="654" y="1808"/>
                </a:lnTo>
                <a:lnTo>
                  <a:pt x="612" y="1794"/>
                </a:lnTo>
                <a:lnTo>
                  <a:pt x="570" y="1778"/>
                </a:lnTo>
                <a:lnTo>
                  <a:pt x="530" y="1758"/>
                </a:lnTo>
                <a:lnTo>
                  <a:pt x="488" y="1738"/>
                </a:lnTo>
                <a:lnTo>
                  <a:pt x="450" y="1716"/>
                </a:lnTo>
                <a:lnTo>
                  <a:pt x="412" y="1692"/>
                </a:lnTo>
                <a:lnTo>
                  <a:pt x="374" y="1666"/>
                </a:lnTo>
                <a:lnTo>
                  <a:pt x="338" y="1638"/>
                </a:lnTo>
                <a:lnTo>
                  <a:pt x="304" y="1608"/>
                </a:lnTo>
                <a:lnTo>
                  <a:pt x="270" y="1576"/>
                </a:lnTo>
                <a:lnTo>
                  <a:pt x="270" y="1576"/>
                </a:lnTo>
                <a:lnTo>
                  <a:pt x="238" y="1542"/>
                </a:lnTo>
                <a:lnTo>
                  <a:pt x="208" y="1508"/>
                </a:lnTo>
                <a:lnTo>
                  <a:pt x="180" y="1472"/>
                </a:lnTo>
                <a:lnTo>
                  <a:pt x="154" y="1436"/>
                </a:lnTo>
                <a:lnTo>
                  <a:pt x="130" y="1398"/>
                </a:lnTo>
                <a:lnTo>
                  <a:pt x="108" y="1358"/>
                </a:lnTo>
                <a:lnTo>
                  <a:pt x="88" y="1318"/>
                </a:lnTo>
                <a:lnTo>
                  <a:pt x="70" y="1276"/>
                </a:lnTo>
                <a:lnTo>
                  <a:pt x="54" y="1234"/>
                </a:lnTo>
                <a:lnTo>
                  <a:pt x="40" y="1192"/>
                </a:lnTo>
                <a:lnTo>
                  <a:pt x="28" y="1148"/>
                </a:lnTo>
                <a:lnTo>
                  <a:pt x="18" y="1104"/>
                </a:lnTo>
                <a:lnTo>
                  <a:pt x="10" y="1060"/>
                </a:lnTo>
                <a:lnTo>
                  <a:pt x="4" y="1014"/>
                </a:lnTo>
                <a:lnTo>
                  <a:pt x="2" y="970"/>
                </a:lnTo>
                <a:lnTo>
                  <a:pt x="0" y="924"/>
                </a:lnTo>
                <a:lnTo>
                  <a:pt x="0" y="924"/>
                </a:lnTo>
                <a:lnTo>
                  <a:pt x="2" y="876"/>
                </a:lnTo>
                <a:lnTo>
                  <a:pt x="4" y="832"/>
                </a:lnTo>
                <a:lnTo>
                  <a:pt x="10" y="786"/>
                </a:lnTo>
                <a:lnTo>
                  <a:pt x="18" y="742"/>
                </a:lnTo>
                <a:lnTo>
                  <a:pt x="28" y="698"/>
                </a:lnTo>
                <a:lnTo>
                  <a:pt x="40" y="654"/>
                </a:lnTo>
                <a:lnTo>
                  <a:pt x="54" y="612"/>
                </a:lnTo>
                <a:lnTo>
                  <a:pt x="70" y="570"/>
                </a:lnTo>
                <a:lnTo>
                  <a:pt x="88" y="528"/>
                </a:lnTo>
                <a:lnTo>
                  <a:pt x="108" y="488"/>
                </a:lnTo>
                <a:lnTo>
                  <a:pt x="130" y="448"/>
                </a:lnTo>
                <a:lnTo>
                  <a:pt x="154" y="410"/>
                </a:lnTo>
                <a:lnTo>
                  <a:pt x="180" y="374"/>
                </a:lnTo>
                <a:lnTo>
                  <a:pt x="208" y="338"/>
                </a:lnTo>
                <a:lnTo>
                  <a:pt x="238" y="304"/>
                </a:lnTo>
                <a:lnTo>
                  <a:pt x="270" y="270"/>
                </a:lnTo>
                <a:lnTo>
                  <a:pt x="270" y="270"/>
                </a:lnTo>
                <a:lnTo>
                  <a:pt x="304" y="238"/>
                </a:lnTo>
                <a:lnTo>
                  <a:pt x="338" y="208"/>
                </a:lnTo>
                <a:lnTo>
                  <a:pt x="374" y="180"/>
                </a:lnTo>
                <a:lnTo>
                  <a:pt x="412" y="154"/>
                </a:lnTo>
                <a:lnTo>
                  <a:pt x="450" y="130"/>
                </a:lnTo>
                <a:lnTo>
                  <a:pt x="488" y="108"/>
                </a:lnTo>
                <a:lnTo>
                  <a:pt x="530" y="88"/>
                </a:lnTo>
                <a:lnTo>
                  <a:pt x="570" y="68"/>
                </a:lnTo>
                <a:lnTo>
                  <a:pt x="612" y="52"/>
                </a:lnTo>
                <a:lnTo>
                  <a:pt x="654" y="38"/>
                </a:lnTo>
                <a:lnTo>
                  <a:pt x="698" y="26"/>
                </a:lnTo>
                <a:lnTo>
                  <a:pt x="742" y="16"/>
                </a:lnTo>
                <a:lnTo>
                  <a:pt x="788" y="10"/>
                </a:lnTo>
                <a:lnTo>
                  <a:pt x="832" y="4"/>
                </a:lnTo>
                <a:lnTo>
                  <a:pt x="878" y="0"/>
                </a:lnTo>
                <a:lnTo>
                  <a:pt x="924" y="0"/>
                </a:lnTo>
                <a:lnTo>
                  <a:pt x="924" y="0"/>
                </a:lnTo>
                <a:lnTo>
                  <a:pt x="970" y="0"/>
                </a:lnTo>
                <a:lnTo>
                  <a:pt x="1016" y="4"/>
                </a:lnTo>
                <a:lnTo>
                  <a:pt x="1060" y="10"/>
                </a:lnTo>
                <a:lnTo>
                  <a:pt x="1106" y="16"/>
                </a:lnTo>
                <a:lnTo>
                  <a:pt x="1150" y="26"/>
                </a:lnTo>
                <a:lnTo>
                  <a:pt x="1194" y="38"/>
                </a:lnTo>
                <a:lnTo>
                  <a:pt x="1236" y="52"/>
                </a:lnTo>
                <a:lnTo>
                  <a:pt x="1278" y="68"/>
                </a:lnTo>
                <a:lnTo>
                  <a:pt x="1318" y="88"/>
                </a:lnTo>
                <a:lnTo>
                  <a:pt x="1360" y="108"/>
                </a:lnTo>
                <a:lnTo>
                  <a:pt x="1398" y="130"/>
                </a:lnTo>
                <a:lnTo>
                  <a:pt x="1436" y="154"/>
                </a:lnTo>
                <a:lnTo>
                  <a:pt x="1474" y="180"/>
                </a:lnTo>
                <a:lnTo>
                  <a:pt x="1510" y="208"/>
                </a:lnTo>
                <a:lnTo>
                  <a:pt x="1544" y="238"/>
                </a:lnTo>
                <a:lnTo>
                  <a:pt x="1578" y="270"/>
                </a:lnTo>
                <a:lnTo>
                  <a:pt x="1578" y="270"/>
                </a:lnTo>
                <a:lnTo>
                  <a:pt x="1610" y="304"/>
                </a:lnTo>
                <a:lnTo>
                  <a:pt x="1640" y="338"/>
                </a:lnTo>
                <a:lnTo>
                  <a:pt x="1668" y="374"/>
                </a:lnTo>
                <a:lnTo>
                  <a:pt x="1694" y="410"/>
                </a:lnTo>
                <a:lnTo>
                  <a:pt x="1718" y="448"/>
                </a:lnTo>
                <a:lnTo>
                  <a:pt x="1740" y="488"/>
                </a:lnTo>
                <a:lnTo>
                  <a:pt x="1760" y="528"/>
                </a:lnTo>
                <a:lnTo>
                  <a:pt x="1778" y="570"/>
                </a:lnTo>
                <a:lnTo>
                  <a:pt x="1794" y="612"/>
                </a:lnTo>
                <a:lnTo>
                  <a:pt x="1808" y="654"/>
                </a:lnTo>
                <a:lnTo>
                  <a:pt x="1820" y="698"/>
                </a:lnTo>
                <a:lnTo>
                  <a:pt x="1830" y="742"/>
                </a:lnTo>
                <a:lnTo>
                  <a:pt x="1838" y="786"/>
                </a:lnTo>
                <a:lnTo>
                  <a:pt x="1844" y="832"/>
                </a:lnTo>
                <a:lnTo>
                  <a:pt x="1846" y="876"/>
                </a:lnTo>
                <a:lnTo>
                  <a:pt x="1848" y="924"/>
                </a:lnTo>
                <a:lnTo>
                  <a:pt x="1848" y="924"/>
                </a:lnTo>
                <a:lnTo>
                  <a:pt x="1846" y="970"/>
                </a:lnTo>
                <a:lnTo>
                  <a:pt x="1844" y="1014"/>
                </a:lnTo>
                <a:lnTo>
                  <a:pt x="1838" y="1060"/>
                </a:lnTo>
                <a:lnTo>
                  <a:pt x="1830" y="1104"/>
                </a:lnTo>
                <a:lnTo>
                  <a:pt x="1820" y="1148"/>
                </a:lnTo>
                <a:lnTo>
                  <a:pt x="1808" y="1192"/>
                </a:lnTo>
                <a:lnTo>
                  <a:pt x="1794" y="1234"/>
                </a:lnTo>
                <a:lnTo>
                  <a:pt x="1778" y="1276"/>
                </a:lnTo>
                <a:lnTo>
                  <a:pt x="1760" y="1318"/>
                </a:lnTo>
                <a:lnTo>
                  <a:pt x="1740" y="1358"/>
                </a:lnTo>
                <a:lnTo>
                  <a:pt x="1718" y="1398"/>
                </a:lnTo>
                <a:lnTo>
                  <a:pt x="1694" y="1436"/>
                </a:lnTo>
                <a:lnTo>
                  <a:pt x="1668" y="1472"/>
                </a:lnTo>
                <a:lnTo>
                  <a:pt x="1640" y="1508"/>
                </a:lnTo>
                <a:lnTo>
                  <a:pt x="1610" y="1542"/>
                </a:lnTo>
                <a:lnTo>
                  <a:pt x="1578" y="1576"/>
                </a:lnTo>
                <a:lnTo>
                  <a:pt x="1578" y="1576"/>
                </a:lnTo>
                <a:lnTo>
                  <a:pt x="1544" y="1608"/>
                </a:lnTo>
                <a:lnTo>
                  <a:pt x="1510" y="1638"/>
                </a:lnTo>
                <a:lnTo>
                  <a:pt x="1474" y="1666"/>
                </a:lnTo>
                <a:lnTo>
                  <a:pt x="1436" y="1692"/>
                </a:lnTo>
                <a:lnTo>
                  <a:pt x="1398" y="1716"/>
                </a:lnTo>
                <a:lnTo>
                  <a:pt x="1360" y="1738"/>
                </a:lnTo>
                <a:lnTo>
                  <a:pt x="1318" y="1758"/>
                </a:lnTo>
                <a:lnTo>
                  <a:pt x="1278" y="1778"/>
                </a:lnTo>
                <a:lnTo>
                  <a:pt x="1236" y="1794"/>
                </a:lnTo>
                <a:lnTo>
                  <a:pt x="1194" y="1808"/>
                </a:lnTo>
                <a:lnTo>
                  <a:pt x="1150" y="1820"/>
                </a:lnTo>
                <a:lnTo>
                  <a:pt x="1106" y="1830"/>
                </a:lnTo>
                <a:lnTo>
                  <a:pt x="1060" y="1836"/>
                </a:lnTo>
                <a:lnTo>
                  <a:pt x="1016" y="1842"/>
                </a:lnTo>
                <a:lnTo>
                  <a:pt x="970" y="1846"/>
                </a:lnTo>
                <a:lnTo>
                  <a:pt x="924" y="1848"/>
                </a:lnTo>
                <a:lnTo>
                  <a:pt x="924" y="1848"/>
                </a:lnTo>
                <a:close/>
                <a:moveTo>
                  <a:pt x="924" y="560"/>
                </a:moveTo>
                <a:lnTo>
                  <a:pt x="924" y="560"/>
                </a:lnTo>
                <a:lnTo>
                  <a:pt x="888" y="560"/>
                </a:lnTo>
                <a:lnTo>
                  <a:pt x="852" y="566"/>
                </a:lnTo>
                <a:lnTo>
                  <a:pt x="818" y="574"/>
                </a:lnTo>
                <a:lnTo>
                  <a:pt x="784" y="586"/>
                </a:lnTo>
                <a:lnTo>
                  <a:pt x="752" y="602"/>
                </a:lnTo>
                <a:lnTo>
                  <a:pt x="722" y="620"/>
                </a:lnTo>
                <a:lnTo>
                  <a:pt x="694" y="642"/>
                </a:lnTo>
                <a:lnTo>
                  <a:pt x="666" y="666"/>
                </a:lnTo>
                <a:lnTo>
                  <a:pt x="666" y="666"/>
                </a:lnTo>
                <a:lnTo>
                  <a:pt x="642" y="692"/>
                </a:lnTo>
                <a:lnTo>
                  <a:pt x="622" y="722"/>
                </a:lnTo>
                <a:lnTo>
                  <a:pt x="602" y="752"/>
                </a:lnTo>
                <a:lnTo>
                  <a:pt x="588" y="784"/>
                </a:lnTo>
                <a:lnTo>
                  <a:pt x="576" y="818"/>
                </a:lnTo>
                <a:lnTo>
                  <a:pt x="566" y="852"/>
                </a:lnTo>
                <a:lnTo>
                  <a:pt x="562" y="886"/>
                </a:lnTo>
                <a:lnTo>
                  <a:pt x="560" y="924"/>
                </a:lnTo>
                <a:lnTo>
                  <a:pt x="560" y="924"/>
                </a:lnTo>
                <a:lnTo>
                  <a:pt x="562" y="960"/>
                </a:lnTo>
                <a:lnTo>
                  <a:pt x="568" y="994"/>
                </a:lnTo>
                <a:lnTo>
                  <a:pt x="576" y="1028"/>
                </a:lnTo>
                <a:lnTo>
                  <a:pt x="588" y="1062"/>
                </a:lnTo>
                <a:lnTo>
                  <a:pt x="602" y="1094"/>
                </a:lnTo>
                <a:lnTo>
                  <a:pt x="622" y="1124"/>
                </a:lnTo>
                <a:lnTo>
                  <a:pt x="642" y="1154"/>
                </a:lnTo>
                <a:lnTo>
                  <a:pt x="666" y="1180"/>
                </a:lnTo>
                <a:lnTo>
                  <a:pt x="666" y="1180"/>
                </a:lnTo>
                <a:lnTo>
                  <a:pt x="694" y="1204"/>
                </a:lnTo>
                <a:lnTo>
                  <a:pt x="722" y="1226"/>
                </a:lnTo>
                <a:lnTo>
                  <a:pt x="752" y="1244"/>
                </a:lnTo>
                <a:lnTo>
                  <a:pt x="784" y="1260"/>
                </a:lnTo>
                <a:lnTo>
                  <a:pt x="818" y="1272"/>
                </a:lnTo>
                <a:lnTo>
                  <a:pt x="852" y="1280"/>
                </a:lnTo>
                <a:lnTo>
                  <a:pt x="888" y="1286"/>
                </a:lnTo>
                <a:lnTo>
                  <a:pt x="924" y="1288"/>
                </a:lnTo>
                <a:lnTo>
                  <a:pt x="924" y="1288"/>
                </a:lnTo>
                <a:lnTo>
                  <a:pt x="960" y="1286"/>
                </a:lnTo>
                <a:lnTo>
                  <a:pt x="996" y="1280"/>
                </a:lnTo>
                <a:lnTo>
                  <a:pt x="1030" y="1272"/>
                </a:lnTo>
                <a:lnTo>
                  <a:pt x="1064" y="1260"/>
                </a:lnTo>
                <a:lnTo>
                  <a:pt x="1096" y="1244"/>
                </a:lnTo>
                <a:lnTo>
                  <a:pt x="1126" y="1226"/>
                </a:lnTo>
                <a:lnTo>
                  <a:pt x="1154" y="1204"/>
                </a:lnTo>
                <a:lnTo>
                  <a:pt x="1182" y="1180"/>
                </a:lnTo>
                <a:lnTo>
                  <a:pt x="1182" y="1180"/>
                </a:lnTo>
                <a:lnTo>
                  <a:pt x="1206" y="1154"/>
                </a:lnTo>
                <a:lnTo>
                  <a:pt x="1226" y="1124"/>
                </a:lnTo>
                <a:lnTo>
                  <a:pt x="1246" y="1094"/>
                </a:lnTo>
                <a:lnTo>
                  <a:pt x="1260" y="1062"/>
                </a:lnTo>
                <a:lnTo>
                  <a:pt x="1272" y="1028"/>
                </a:lnTo>
                <a:lnTo>
                  <a:pt x="1282" y="994"/>
                </a:lnTo>
                <a:lnTo>
                  <a:pt x="1286" y="960"/>
                </a:lnTo>
                <a:lnTo>
                  <a:pt x="1288" y="924"/>
                </a:lnTo>
                <a:lnTo>
                  <a:pt x="1288" y="924"/>
                </a:lnTo>
                <a:lnTo>
                  <a:pt x="1286" y="886"/>
                </a:lnTo>
                <a:lnTo>
                  <a:pt x="1282" y="852"/>
                </a:lnTo>
                <a:lnTo>
                  <a:pt x="1272" y="818"/>
                </a:lnTo>
                <a:lnTo>
                  <a:pt x="1260" y="784"/>
                </a:lnTo>
                <a:lnTo>
                  <a:pt x="1246" y="752"/>
                </a:lnTo>
                <a:lnTo>
                  <a:pt x="1226" y="722"/>
                </a:lnTo>
                <a:lnTo>
                  <a:pt x="1206" y="692"/>
                </a:lnTo>
                <a:lnTo>
                  <a:pt x="1182" y="666"/>
                </a:lnTo>
                <a:lnTo>
                  <a:pt x="1182" y="666"/>
                </a:lnTo>
                <a:lnTo>
                  <a:pt x="1154" y="642"/>
                </a:lnTo>
                <a:lnTo>
                  <a:pt x="1126" y="620"/>
                </a:lnTo>
                <a:lnTo>
                  <a:pt x="1096" y="602"/>
                </a:lnTo>
                <a:lnTo>
                  <a:pt x="1064" y="586"/>
                </a:lnTo>
                <a:lnTo>
                  <a:pt x="1030" y="574"/>
                </a:lnTo>
                <a:lnTo>
                  <a:pt x="996" y="566"/>
                </a:lnTo>
                <a:lnTo>
                  <a:pt x="960" y="560"/>
                </a:lnTo>
                <a:lnTo>
                  <a:pt x="924" y="560"/>
                </a:lnTo>
                <a:lnTo>
                  <a:pt x="924" y="560"/>
                </a:lnTo>
                <a:close/>
              </a:path>
            </a:pathLst>
          </a:custGeom>
          <a:solidFill>
            <a:srgbClr val="D5D5D5"/>
          </a:solidFill>
          <a:ln w="3175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8" name="Freeform 6"/>
          <p:cNvSpPr>
            <a:spLocks/>
          </p:cNvSpPr>
          <p:nvPr/>
        </p:nvSpPr>
        <p:spPr bwMode="auto">
          <a:xfrm>
            <a:off x="3507962" y="2081888"/>
            <a:ext cx="515508" cy="458422"/>
          </a:xfrm>
          <a:custGeom>
            <a:avLst/>
            <a:gdLst>
              <a:gd name="T0" fmla="*/ 314 w 596"/>
              <a:gd name="T1" fmla="*/ 530 h 530"/>
              <a:gd name="T2" fmla="*/ 596 w 596"/>
              <a:gd name="T3" fmla="*/ 246 h 530"/>
              <a:gd name="T4" fmla="*/ 596 w 596"/>
              <a:gd name="T5" fmla="*/ 246 h 530"/>
              <a:gd name="T6" fmla="*/ 568 w 596"/>
              <a:gd name="T7" fmla="*/ 218 h 530"/>
              <a:gd name="T8" fmla="*/ 536 w 596"/>
              <a:gd name="T9" fmla="*/ 192 h 530"/>
              <a:gd name="T10" fmla="*/ 504 w 596"/>
              <a:gd name="T11" fmla="*/ 166 h 530"/>
              <a:gd name="T12" fmla="*/ 472 w 596"/>
              <a:gd name="T13" fmla="*/ 144 h 530"/>
              <a:gd name="T14" fmla="*/ 438 w 596"/>
              <a:gd name="T15" fmla="*/ 122 h 530"/>
              <a:gd name="T16" fmla="*/ 402 w 596"/>
              <a:gd name="T17" fmla="*/ 100 h 530"/>
              <a:gd name="T18" fmla="*/ 366 w 596"/>
              <a:gd name="T19" fmla="*/ 82 h 530"/>
              <a:gd name="T20" fmla="*/ 328 w 596"/>
              <a:gd name="T21" fmla="*/ 66 h 530"/>
              <a:gd name="T22" fmla="*/ 290 w 596"/>
              <a:gd name="T23" fmla="*/ 50 h 530"/>
              <a:gd name="T24" fmla="*/ 250 w 596"/>
              <a:gd name="T25" fmla="*/ 36 h 530"/>
              <a:gd name="T26" fmla="*/ 210 w 596"/>
              <a:gd name="T27" fmla="*/ 26 h 530"/>
              <a:gd name="T28" fmla="*/ 170 w 596"/>
              <a:gd name="T29" fmla="*/ 16 h 530"/>
              <a:gd name="T30" fmla="*/ 128 w 596"/>
              <a:gd name="T31" fmla="*/ 8 h 530"/>
              <a:gd name="T32" fmla="*/ 86 w 596"/>
              <a:gd name="T33" fmla="*/ 4 h 530"/>
              <a:gd name="T34" fmla="*/ 44 w 596"/>
              <a:gd name="T35" fmla="*/ 0 h 530"/>
              <a:gd name="T36" fmla="*/ 0 w 596"/>
              <a:gd name="T37" fmla="*/ 0 h 530"/>
              <a:gd name="T38" fmla="*/ 0 w 596"/>
              <a:gd name="T39" fmla="*/ 400 h 530"/>
              <a:gd name="T40" fmla="*/ 0 w 596"/>
              <a:gd name="T41" fmla="*/ 400 h 530"/>
              <a:gd name="T42" fmla="*/ 46 w 596"/>
              <a:gd name="T43" fmla="*/ 402 h 530"/>
              <a:gd name="T44" fmla="*/ 90 w 596"/>
              <a:gd name="T45" fmla="*/ 408 h 530"/>
              <a:gd name="T46" fmla="*/ 132 w 596"/>
              <a:gd name="T47" fmla="*/ 418 h 530"/>
              <a:gd name="T48" fmla="*/ 172 w 596"/>
              <a:gd name="T49" fmla="*/ 434 h 530"/>
              <a:gd name="T50" fmla="*/ 212 w 596"/>
              <a:gd name="T51" fmla="*/ 452 h 530"/>
              <a:gd name="T52" fmla="*/ 248 w 596"/>
              <a:gd name="T53" fmla="*/ 474 h 530"/>
              <a:gd name="T54" fmla="*/ 282 w 596"/>
              <a:gd name="T55" fmla="*/ 500 h 530"/>
              <a:gd name="T56" fmla="*/ 314 w 596"/>
              <a:gd name="T57" fmla="*/ 530 h 530"/>
              <a:gd name="T58" fmla="*/ 314 w 596"/>
              <a:gd name="T59" fmla="*/ 530 h 5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96" h="530">
                <a:moveTo>
                  <a:pt x="314" y="530"/>
                </a:moveTo>
                <a:lnTo>
                  <a:pt x="596" y="246"/>
                </a:lnTo>
                <a:lnTo>
                  <a:pt x="596" y="246"/>
                </a:lnTo>
                <a:lnTo>
                  <a:pt x="568" y="218"/>
                </a:lnTo>
                <a:lnTo>
                  <a:pt x="536" y="192"/>
                </a:lnTo>
                <a:lnTo>
                  <a:pt x="504" y="166"/>
                </a:lnTo>
                <a:lnTo>
                  <a:pt x="472" y="144"/>
                </a:lnTo>
                <a:lnTo>
                  <a:pt x="438" y="122"/>
                </a:lnTo>
                <a:lnTo>
                  <a:pt x="402" y="100"/>
                </a:lnTo>
                <a:lnTo>
                  <a:pt x="366" y="82"/>
                </a:lnTo>
                <a:lnTo>
                  <a:pt x="328" y="66"/>
                </a:lnTo>
                <a:lnTo>
                  <a:pt x="290" y="50"/>
                </a:lnTo>
                <a:lnTo>
                  <a:pt x="250" y="36"/>
                </a:lnTo>
                <a:lnTo>
                  <a:pt x="210" y="26"/>
                </a:lnTo>
                <a:lnTo>
                  <a:pt x="170" y="16"/>
                </a:lnTo>
                <a:lnTo>
                  <a:pt x="128" y="8"/>
                </a:lnTo>
                <a:lnTo>
                  <a:pt x="86" y="4"/>
                </a:lnTo>
                <a:lnTo>
                  <a:pt x="44" y="0"/>
                </a:lnTo>
                <a:lnTo>
                  <a:pt x="0" y="0"/>
                </a:lnTo>
                <a:lnTo>
                  <a:pt x="0" y="400"/>
                </a:lnTo>
                <a:lnTo>
                  <a:pt x="0" y="400"/>
                </a:lnTo>
                <a:lnTo>
                  <a:pt x="46" y="402"/>
                </a:lnTo>
                <a:lnTo>
                  <a:pt x="90" y="408"/>
                </a:lnTo>
                <a:lnTo>
                  <a:pt x="132" y="418"/>
                </a:lnTo>
                <a:lnTo>
                  <a:pt x="172" y="434"/>
                </a:lnTo>
                <a:lnTo>
                  <a:pt x="212" y="452"/>
                </a:lnTo>
                <a:lnTo>
                  <a:pt x="248" y="474"/>
                </a:lnTo>
                <a:lnTo>
                  <a:pt x="282" y="500"/>
                </a:lnTo>
                <a:lnTo>
                  <a:pt x="314" y="530"/>
                </a:lnTo>
                <a:lnTo>
                  <a:pt x="314" y="530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Freeform 7"/>
          <p:cNvSpPr>
            <a:spLocks/>
          </p:cNvSpPr>
          <p:nvPr/>
        </p:nvSpPr>
        <p:spPr bwMode="auto">
          <a:xfrm>
            <a:off x="3779555" y="2294665"/>
            <a:ext cx="458422" cy="517238"/>
          </a:xfrm>
          <a:custGeom>
            <a:avLst/>
            <a:gdLst>
              <a:gd name="T0" fmla="*/ 130 w 530"/>
              <a:gd name="T1" fmla="*/ 598 h 598"/>
              <a:gd name="T2" fmla="*/ 530 w 530"/>
              <a:gd name="T3" fmla="*/ 598 h 598"/>
              <a:gd name="T4" fmla="*/ 530 w 530"/>
              <a:gd name="T5" fmla="*/ 598 h 598"/>
              <a:gd name="T6" fmla="*/ 528 w 530"/>
              <a:gd name="T7" fmla="*/ 554 h 598"/>
              <a:gd name="T8" fmla="*/ 526 w 530"/>
              <a:gd name="T9" fmla="*/ 510 h 598"/>
              <a:gd name="T10" fmla="*/ 520 w 530"/>
              <a:gd name="T11" fmla="*/ 468 h 598"/>
              <a:gd name="T12" fmla="*/ 512 w 530"/>
              <a:gd name="T13" fmla="*/ 426 h 598"/>
              <a:gd name="T14" fmla="*/ 504 w 530"/>
              <a:gd name="T15" fmla="*/ 386 h 598"/>
              <a:gd name="T16" fmla="*/ 492 w 530"/>
              <a:gd name="T17" fmla="*/ 346 h 598"/>
              <a:gd name="T18" fmla="*/ 478 w 530"/>
              <a:gd name="T19" fmla="*/ 306 h 598"/>
              <a:gd name="T20" fmla="*/ 464 w 530"/>
              <a:gd name="T21" fmla="*/ 268 h 598"/>
              <a:gd name="T22" fmla="*/ 446 w 530"/>
              <a:gd name="T23" fmla="*/ 232 h 598"/>
              <a:gd name="T24" fmla="*/ 428 w 530"/>
              <a:gd name="T25" fmla="*/ 194 h 598"/>
              <a:gd name="T26" fmla="*/ 408 w 530"/>
              <a:gd name="T27" fmla="*/ 160 h 598"/>
              <a:gd name="T28" fmla="*/ 386 w 530"/>
              <a:gd name="T29" fmla="*/ 126 h 598"/>
              <a:gd name="T30" fmla="*/ 362 w 530"/>
              <a:gd name="T31" fmla="*/ 92 h 598"/>
              <a:gd name="T32" fmla="*/ 338 w 530"/>
              <a:gd name="T33" fmla="*/ 60 h 598"/>
              <a:gd name="T34" fmla="*/ 310 w 530"/>
              <a:gd name="T35" fmla="*/ 30 h 598"/>
              <a:gd name="T36" fmla="*/ 282 w 530"/>
              <a:gd name="T37" fmla="*/ 0 h 598"/>
              <a:gd name="T38" fmla="*/ 0 w 530"/>
              <a:gd name="T39" fmla="*/ 284 h 598"/>
              <a:gd name="T40" fmla="*/ 0 w 530"/>
              <a:gd name="T41" fmla="*/ 284 h 598"/>
              <a:gd name="T42" fmla="*/ 28 w 530"/>
              <a:gd name="T43" fmla="*/ 314 h 598"/>
              <a:gd name="T44" fmla="*/ 54 w 530"/>
              <a:gd name="T45" fmla="*/ 348 h 598"/>
              <a:gd name="T46" fmla="*/ 76 w 530"/>
              <a:gd name="T47" fmla="*/ 386 h 598"/>
              <a:gd name="T48" fmla="*/ 96 w 530"/>
              <a:gd name="T49" fmla="*/ 424 h 598"/>
              <a:gd name="T50" fmla="*/ 110 w 530"/>
              <a:gd name="T51" fmla="*/ 466 h 598"/>
              <a:gd name="T52" fmla="*/ 120 w 530"/>
              <a:gd name="T53" fmla="*/ 508 h 598"/>
              <a:gd name="T54" fmla="*/ 128 w 530"/>
              <a:gd name="T55" fmla="*/ 552 h 598"/>
              <a:gd name="T56" fmla="*/ 130 w 530"/>
              <a:gd name="T57" fmla="*/ 598 h 598"/>
              <a:gd name="T58" fmla="*/ 130 w 530"/>
              <a:gd name="T59" fmla="*/ 598 h 5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30" h="598">
                <a:moveTo>
                  <a:pt x="130" y="598"/>
                </a:moveTo>
                <a:lnTo>
                  <a:pt x="530" y="598"/>
                </a:lnTo>
                <a:lnTo>
                  <a:pt x="530" y="598"/>
                </a:lnTo>
                <a:lnTo>
                  <a:pt x="528" y="554"/>
                </a:lnTo>
                <a:lnTo>
                  <a:pt x="526" y="510"/>
                </a:lnTo>
                <a:lnTo>
                  <a:pt x="520" y="468"/>
                </a:lnTo>
                <a:lnTo>
                  <a:pt x="512" y="426"/>
                </a:lnTo>
                <a:lnTo>
                  <a:pt x="504" y="386"/>
                </a:lnTo>
                <a:lnTo>
                  <a:pt x="492" y="346"/>
                </a:lnTo>
                <a:lnTo>
                  <a:pt x="478" y="306"/>
                </a:lnTo>
                <a:lnTo>
                  <a:pt x="464" y="268"/>
                </a:lnTo>
                <a:lnTo>
                  <a:pt x="446" y="232"/>
                </a:lnTo>
                <a:lnTo>
                  <a:pt x="428" y="194"/>
                </a:lnTo>
                <a:lnTo>
                  <a:pt x="408" y="160"/>
                </a:lnTo>
                <a:lnTo>
                  <a:pt x="386" y="126"/>
                </a:lnTo>
                <a:lnTo>
                  <a:pt x="362" y="92"/>
                </a:lnTo>
                <a:lnTo>
                  <a:pt x="338" y="60"/>
                </a:lnTo>
                <a:lnTo>
                  <a:pt x="310" y="30"/>
                </a:lnTo>
                <a:lnTo>
                  <a:pt x="282" y="0"/>
                </a:lnTo>
                <a:lnTo>
                  <a:pt x="0" y="284"/>
                </a:lnTo>
                <a:lnTo>
                  <a:pt x="0" y="284"/>
                </a:lnTo>
                <a:lnTo>
                  <a:pt x="28" y="314"/>
                </a:lnTo>
                <a:lnTo>
                  <a:pt x="54" y="348"/>
                </a:lnTo>
                <a:lnTo>
                  <a:pt x="76" y="386"/>
                </a:lnTo>
                <a:lnTo>
                  <a:pt x="96" y="424"/>
                </a:lnTo>
                <a:lnTo>
                  <a:pt x="110" y="466"/>
                </a:lnTo>
                <a:lnTo>
                  <a:pt x="120" y="508"/>
                </a:lnTo>
                <a:lnTo>
                  <a:pt x="128" y="552"/>
                </a:lnTo>
                <a:lnTo>
                  <a:pt x="130" y="598"/>
                </a:lnTo>
                <a:lnTo>
                  <a:pt x="130" y="598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Freeform 8"/>
          <p:cNvSpPr>
            <a:spLocks/>
          </p:cNvSpPr>
          <p:nvPr/>
        </p:nvSpPr>
        <p:spPr bwMode="auto">
          <a:xfrm>
            <a:off x="2992454" y="2081888"/>
            <a:ext cx="515508" cy="458422"/>
          </a:xfrm>
          <a:custGeom>
            <a:avLst/>
            <a:gdLst>
              <a:gd name="T0" fmla="*/ 596 w 596"/>
              <a:gd name="T1" fmla="*/ 400 h 530"/>
              <a:gd name="T2" fmla="*/ 596 w 596"/>
              <a:gd name="T3" fmla="*/ 0 h 530"/>
              <a:gd name="T4" fmla="*/ 596 w 596"/>
              <a:gd name="T5" fmla="*/ 0 h 530"/>
              <a:gd name="T6" fmla="*/ 552 w 596"/>
              <a:gd name="T7" fmla="*/ 0 h 530"/>
              <a:gd name="T8" fmla="*/ 510 w 596"/>
              <a:gd name="T9" fmla="*/ 4 h 530"/>
              <a:gd name="T10" fmla="*/ 468 w 596"/>
              <a:gd name="T11" fmla="*/ 8 h 530"/>
              <a:gd name="T12" fmla="*/ 426 w 596"/>
              <a:gd name="T13" fmla="*/ 16 h 530"/>
              <a:gd name="T14" fmla="*/ 386 w 596"/>
              <a:gd name="T15" fmla="*/ 26 h 530"/>
              <a:gd name="T16" fmla="*/ 346 w 596"/>
              <a:gd name="T17" fmla="*/ 36 h 530"/>
              <a:gd name="T18" fmla="*/ 306 w 596"/>
              <a:gd name="T19" fmla="*/ 50 h 530"/>
              <a:gd name="T20" fmla="*/ 268 w 596"/>
              <a:gd name="T21" fmla="*/ 66 h 530"/>
              <a:gd name="T22" fmla="*/ 230 w 596"/>
              <a:gd name="T23" fmla="*/ 82 h 530"/>
              <a:gd name="T24" fmla="*/ 194 w 596"/>
              <a:gd name="T25" fmla="*/ 100 h 530"/>
              <a:gd name="T26" fmla="*/ 158 w 596"/>
              <a:gd name="T27" fmla="*/ 122 h 530"/>
              <a:gd name="T28" fmla="*/ 124 w 596"/>
              <a:gd name="T29" fmla="*/ 144 h 530"/>
              <a:gd name="T30" fmla="*/ 92 w 596"/>
              <a:gd name="T31" fmla="*/ 166 h 530"/>
              <a:gd name="T32" fmla="*/ 60 w 596"/>
              <a:gd name="T33" fmla="*/ 192 h 530"/>
              <a:gd name="T34" fmla="*/ 28 w 596"/>
              <a:gd name="T35" fmla="*/ 218 h 530"/>
              <a:gd name="T36" fmla="*/ 0 w 596"/>
              <a:gd name="T37" fmla="*/ 246 h 530"/>
              <a:gd name="T38" fmla="*/ 282 w 596"/>
              <a:gd name="T39" fmla="*/ 530 h 530"/>
              <a:gd name="T40" fmla="*/ 282 w 596"/>
              <a:gd name="T41" fmla="*/ 530 h 530"/>
              <a:gd name="T42" fmla="*/ 314 w 596"/>
              <a:gd name="T43" fmla="*/ 500 h 530"/>
              <a:gd name="T44" fmla="*/ 348 w 596"/>
              <a:gd name="T45" fmla="*/ 474 h 530"/>
              <a:gd name="T46" fmla="*/ 384 w 596"/>
              <a:gd name="T47" fmla="*/ 452 h 530"/>
              <a:gd name="T48" fmla="*/ 424 w 596"/>
              <a:gd name="T49" fmla="*/ 434 h 530"/>
              <a:gd name="T50" fmla="*/ 464 w 596"/>
              <a:gd name="T51" fmla="*/ 418 h 530"/>
              <a:gd name="T52" fmla="*/ 506 w 596"/>
              <a:gd name="T53" fmla="*/ 408 h 530"/>
              <a:gd name="T54" fmla="*/ 550 w 596"/>
              <a:gd name="T55" fmla="*/ 402 h 530"/>
              <a:gd name="T56" fmla="*/ 596 w 596"/>
              <a:gd name="T57" fmla="*/ 400 h 530"/>
              <a:gd name="T58" fmla="*/ 596 w 596"/>
              <a:gd name="T59" fmla="*/ 400 h 5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96" h="530">
                <a:moveTo>
                  <a:pt x="596" y="400"/>
                </a:moveTo>
                <a:lnTo>
                  <a:pt x="596" y="0"/>
                </a:lnTo>
                <a:lnTo>
                  <a:pt x="596" y="0"/>
                </a:lnTo>
                <a:lnTo>
                  <a:pt x="552" y="0"/>
                </a:lnTo>
                <a:lnTo>
                  <a:pt x="510" y="4"/>
                </a:lnTo>
                <a:lnTo>
                  <a:pt x="468" y="8"/>
                </a:lnTo>
                <a:lnTo>
                  <a:pt x="426" y="16"/>
                </a:lnTo>
                <a:lnTo>
                  <a:pt x="386" y="26"/>
                </a:lnTo>
                <a:lnTo>
                  <a:pt x="346" y="36"/>
                </a:lnTo>
                <a:lnTo>
                  <a:pt x="306" y="50"/>
                </a:lnTo>
                <a:lnTo>
                  <a:pt x="268" y="66"/>
                </a:lnTo>
                <a:lnTo>
                  <a:pt x="230" y="82"/>
                </a:lnTo>
                <a:lnTo>
                  <a:pt x="194" y="100"/>
                </a:lnTo>
                <a:lnTo>
                  <a:pt x="158" y="122"/>
                </a:lnTo>
                <a:lnTo>
                  <a:pt x="124" y="144"/>
                </a:lnTo>
                <a:lnTo>
                  <a:pt x="92" y="166"/>
                </a:lnTo>
                <a:lnTo>
                  <a:pt x="60" y="192"/>
                </a:lnTo>
                <a:lnTo>
                  <a:pt x="28" y="218"/>
                </a:lnTo>
                <a:lnTo>
                  <a:pt x="0" y="246"/>
                </a:lnTo>
                <a:lnTo>
                  <a:pt x="282" y="530"/>
                </a:lnTo>
                <a:lnTo>
                  <a:pt x="282" y="530"/>
                </a:lnTo>
                <a:lnTo>
                  <a:pt x="314" y="500"/>
                </a:lnTo>
                <a:lnTo>
                  <a:pt x="348" y="474"/>
                </a:lnTo>
                <a:lnTo>
                  <a:pt x="384" y="452"/>
                </a:lnTo>
                <a:lnTo>
                  <a:pt x="424" y="434"/>
                </a:lnTo>
                <a:lnTo>
                  <a:pt x="464" y="418"/>
                </a:lnTo>
                <a:lnTo>
                  <a:pt x="506" y="408"/>
                </a:lnTo>
                <a:lnTo>
                  <a:pt x="550" y="402"/>
                </a:lnTo>
                <a:lnTo>
                  <a:pt x="596" y="400"/>
                </a:lnTo>
                <a:lnTo>
                  <a:pt x="596" y="400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9"/>
          <p:cNvSpPr>
            <a:spLocks/>
          </p:cNvSpPr>
          <p:nvPr/>
        </p:nvSpPr>
        <p:spPr bwMode="auto">
          <a:xfrm>
            <a:off x="3779555" y="2811903"/>
            <a:ext cx="458422" cy="515508"/>
          </a:xfrm>
          <a:custGeom>
            <a:avLst/>
            <a:gdLst>
              <a:gd name="T0" fmla="*/ 130 w 530"/>
              <a:gd name="T1" fmla="*/ 0 h 596"/>
              <a:gd name="T2" fmla="*/ 130 w 530"/>
              <a:gd name="T3" fmla="*/ 0 h 596"/>
              <a:gd name="T4" fmla="*/ 128 w 530"/>
              <a:gd name="T5" fmla="*/ 44 h 596"/>
              <a:gd name="T6" fmla="*/ 120 w 530"/>
              <a:gd name="T7" fmla="*/ 88 h 596"/>
              <a:gd name="T8" fmla="*/ 110 w 530"/>
              <a:gd name="T9" fmla="*/ 130 h 596"/>
              <a:gd name="T10" fmla="*/ 96 w 530"/>
              <a:gd name="T11" fmla="*/ 172 h 596"/>
              <a:gd name="T12" fmla="*/ 76 w 530"/>
              <a:gd name="T13" fmla="*/ 210 h 596"/>
              <a:gd name="T14" fmla="*/ 54 w 530"/>
              <a:gd name="T15" fmla="*/ 248 h 596"/>
              <a:gd name="T16" fmla="*/ 28 w 530"/>
              <a:gd name="T17" fmla="*/ 282 h 596"/>
              <a:gd name="T18" fmla="*/ 0 w 530"/>
              <a:gd name="T19" fmla="*/ 312 h 596"/>
              <a:gd name="T20" fmla="*/ 282 w 530"/>
              <a:gd name="T21" fmla="*/ 596 h 596"/>
              <a:gd name="T22" fmla="*/ 282 w 530"/>
              <a:gd name="T23" fmla="*/ 596 h 596"/>
              <a:gd name="T24" fmla="*/ 310 w 530"/>
              <a:gd name="T25" fmla="*/ 566 h 596"/>
              <a:gd name="T26" fmla="*/ 338 w 530"/>
              <a:gd name="T27" fmla="*/ 536 h 596"/>
              <a:gd name="T28" fmla="*/ 362 w 530"/>
              <a:gd name="T29" fmla="*/ 504 h 596"/>
              <a:gd name="T30" fmla="*/ 386 w 530"/>
              <a:gd name="T31" fmla="*/ 470 h 596"/>
              <a:gd name="T32" fmla="*/ 408 w 530"/>
              <a:gd name="T33" fmla="*/ 436 h 596"/>
              <a:gd name="T34" fmla="*/ 428 w 530"/>
              <a:gd name="T35" fmla="*/ 402 h 596"/>
              <a:gd name="T36" fmla="*/ 446 w 530"/>
              <a:gd name="T37" fmla="*/ 364 h 596"/>
              <a:gd name="T38" fmla="*/ 464 w 530"/>
              <a:gd name="T39" fmla="*/ 328 h 596"/>
              <a:gd name="T40" fmla="*/ 478 w 530"/>
              <a:gd name="T41" fmla="*/ 290 h 596"/>
              <a:gd name="T42" fmla="*/ 492 w 530"/>
              <a:gd name="T43" fmla="*/ 250 h 596"/>
              <a:gd name="T44" fmla="*/ 504 w 530"/>
              <a:gd name="T45" fmla="*/ 210 h 596"/>
              <a:gd name="T46" fmla="*/ 512 w 530"/>
              <a:gd name="T47" fmla="*/ 170 h 596"/>
              <a:gd name="T48" fmla="*/ 520 w 530"/>
              <a:gd name="T49" fmla="*/ 128 h 596"/>
              <a:gd name="T50" fmla="*/ 526 w 530"/>
              <a:gd name="T51" fmla="*/ 86 h 596"/>
              <a:gd name="T52" fmla="*/ 528 w 530"/>
              <a:gd name="T53" fmla="*/ 42 h 596"/>
              <a:gd name="T54" fmla="*/ 530 w 530"/>
              <a:gd name="T55" fmla="*/ 0 h 596"/>
              <a:gd name="T56" fmla="*/ 130 w 530"/>
              <a:gd name="T57" fmla="*/ 0 h 5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530" h="596">
                <a:moveTo>
                  <a:pt x="130" y="0"/>
                </a:moveTo>
                <a:lnTo>
                  <a:pt x="130" y="0"/>
                </a:lnTo>
                <a:lnTo>
                  <a:pt x="128" y="44"/>
                </a:lnTo>
                <a:lnTo>
                  <a:pt x="120" y="88"/>
                </a:lnTo>
                <a:lnTo>
                  <a:pt x="110" y="130"/>
                </a:lnTo>
                <a:lnTo>
                  <a:pt x="96" y="172"/>
                </a:lnTo>
                <a:lnTo>
                  <a:pt x="76" y="210"/>
                </a:lnTo>
                <a:lnTo>
                  <a:pt x="54" y="248"/>
                </a:lnTo>
                <a:lnTo>
                  <a:pt x="28" y="282"/>
                </a:lnTo>
                <a:lnTo>
                  <a:pt x="0" y="312"/>
                </a:lnTo>
                <a:lnTo>
                  <a:pt x="282" y="596"/>
                </a:lnTo>
                <a:lnTo>
                  <a:pt x="282" y="596"/>
                </a:lnTo>
                <a:lnTo>
                  <a:pt x="310" y="566"/>
                </a:lnTo>
                <a:lnTo>
                  <a:pt x="338" y="536"/>
                </a:lnTo>
                <a:lnTo>
                  <a:pt x="362" y="504"/>
                </a:lnTo>
                <a:lnTo>
                  <a:pt x="386" y="470"/>
                </a:lnTo>
                <a:lnTo>
                  <a:pt x="408" y="436"/>
                </a:lnTo>
                <a:lnTo>
                  <a:pt x="428" y="402"/>
                </a:lnTo>
                <a:lnTo>
                  <a:pt x="446" y="364"/>
                </a:lnTo>
                <a:lnTo>
                  <a:pt x="464" y="328"/>
                </a:lnTo>
                <a:lnTo>
                  <a:pt x="478" y="290"/>
                </a:lnTo>
                <a:lnTo>
                  <a:pt x="492" y="250"/>
                </a:lnTo>
                <a:lnTo>
                  <a:pt x="504" y="210"/>
                </a:lnTo>
                <a:lnTo>
                  <a:pt x="512" y="170"/>
                </a:lnTo>
                <a:lnTo>
                  <a:pt x="520" y="128"/>
                </a:lnTo>
                <a:lnTo>
                  <a:pt x="526" y="86"/>
                </a:lnTo>
                <a:lnTo>
                  <a:pt x="528" y="42"/>
                </a:lnTo>
                <a:lnTo>
                  <a:pt x="530" y="0"/>
                </a:lnTo>
                <a:lnTo>
                  <a:pt x="130" y="0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Freeform 10"/>
          <p:cNvSpPr>
            <a:spLocks/>
          </p:cNvSpPr>
          <p:nvPr/>
        </p:nvSpPr>
        <p:spPr bwMode="auto">
          <a:xfrm>
            <a:off x="3507962" y="3081766"/>
            <a:ext cx="515508" cy="460152"/>
          </a:xfrm>
          <a:custGeom>
            <a:avLst/>
            <a:gdLst>
              <a:gd name="T0" fmla="*/ 0 w 596"/>
              <a:gd name="T1" fmla="*/ 132 h 532"/>
              <a:gd name="T2" fmla="*/ 0 w 596"/>
              <a:gd name="T3" fmla="*/ 532 h 532"/>
              <a:gd name="T4" fmla="*/ 0 w 596"/>
              <a:gd name="T5" fmla="*/ 532 h 532"/>
              <a:gd name="T6" fmla="*/ 44 w 596"/>
              <a:gd name="T7" fmla="*/ 530 h 532"/>
              <a:gd name="T8" fmla="*/ 86 w 596"/>
              <a:gd name="T9" fmla="*/ 526 h 532"/>
              <a:gd name="T10" fmla="*/ 128 w 596"/>
              <a:gd name="T11" fmla="*/ 522 h 532"/>
              <a:gd name="T12" fmla="*/ 170 w 596"/>
              <a:gd name="T13" fmla="*/ 514 h 532"/>
              <a:gd name="T14" fmla="*/ 210 w 596"/>
              <a:gd name="T15" fmla="*/ 504 h 532"/>
              <a:gd name="T16" fmla="*/ 250 w 596"/>
              <a:gd name="T17" fmla="*/ 494 h 532"/>
              <a:gd name="T18" fmla="*/ 290 w 596"/>
              <a:gd name="T19" fmla="*/ 480 h 532"/>
              <a:gd name="T20" fmla="*/ 328 w 596"/>
              <a:gd name="T21" fmla="*/ 464 h 532"/>
              <a:gd name="T22" fmla="*/ 366 w 596"/>
              <a:gd name="T23" fmla="*/ 448 h 532"/>
              <a:gd name="T24" fmla="*/ 402 w 596"/>
              <a:gd name="T25" fmla="*/ 430 h 532"/>
              <a:gd name="T26" fmla="*/ 438 w 596"/>
              <a:gd name="T27" fmla="*/ 408 h 532"/>
              <a:gd name="T28" fmla="*/ 472 w 596"/>
              <a:gd name="T29" fmla="*/ 386 h 532"/>
              <a:gd name="T30" fmla="*/ 504 w 596"/>
              <a:gd name="T31" fmla="*/ 364 h 532"/>
              <a:gd name="T32" fmla="*/ 536 w 596"/>
              <a:gd name="T33" fmla="*/ 338 h 532"/>
              <a:gd name="T34" fmla="*/ 568 w 596"/>
              <a:gd name="T35" fmla="*/ 312 h 532"/>
              <a:gd name="T36" fmla="*/ 596 w 596"/>
              <a:gd name="T37" fmla="*/ 284 h 532"/>
              <a:gd name="T38" fmla="*/ 314 w 596"/>
              <a:gd name="T39" fmla="*/ 0 h 532"/>
              <a:gd name="T40" fmla="*/ 314 w 596"/>
              <a:gd name="T41" fmla="*/ 0 h 532"/>
              <a:gd name="T42" fmla="*/ 282 w 596"/>
              <a:gd name="T43" fmla="*/ 30 h 532"/>
              <a:gd name="T44" fmla="*/ 248 w 596"/>
              <a:gd name="T45" fmla="*/ 56 h 532"/>
              <a:gd name="T46" fmla="*/ 212 w 596"/>
              <a:gd name="T47" fmla="*/ 78 h 532"/>
              <a:gd name="T48" fmla="*/ 172 w 596"/>
              <a:gd name="T49" fmla="*/ 96 h 532"/>
              <a:gd name="T50" fmla="*/ 132 w 596"/>
              <a:gd name="T51" fmla="*/ 112 h 532"/>
              <a:gd name="T52" fmla="*/ 90 w 596"/>
              <a:gd name="T53" fmla="*/ 122 h 532"/>
              <a:gd name="T54" fmla="*/ 46 w 596"/>
              <a:gd name="T55" fmla="*/ 128 h 532"/>
              <a:gd name="T56" fmla="*/ 0 w 596"/>
              <a:gd name="T57" fmla="*/ 132 h 532"/>
              <a:gd name="T58" fmla="*/ 0 w 596"/>
              <a:gd name="T59" fmla="*/ 132 h 5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96" h="532">
                <a:moveTo>
                  <a:pt x="0" y="132"/>
                </a:moveTo>
                <a:lnTo>
                  <a:pt x="0" y="532"/>
                </a:lnTo>
                <a:lnTo>
                  <a:pt x="0" y="532"/>
                </a:lnTo>
                <a:lnTo>
                  <a:pt x="44" y="530"/>
                </a:lnTo>
                <a:lnTo>
                  <a:pt x="86" y="526"/>
                </a:lnTo>
                <a:lnTo>
                  <a:pt x="128" y="522"/>
                </a:lnTo>
                <a:lnTo>
                  <a:pt x="170" y="514"/>
                </a:lnTo>
                <a:lnTo>
                  <a:pt x="210" y="504"/>
                </a:lnTo>
                <a:lnTo>
                  <a:pt x="250" y="494"/>
                </a:lnTo>
                <a:lnTo>
                  <a:pt x="290" y="480"/>
                </a:lnTo>
                <a:lnTo>
                  <a:pt x="328" y="464"/>
                </a:lnTo>
                <a:lnTo>
                  <a:pt x="366" y="448"/>
                </a:lnTo>
                <a:lnTo>
                  <a:pt x="402" y="430"/>
                </a:lnTo>
                <a:lnTo>
                  <a:pt x="438" y="408"/>
                </a:lnTo>
                <a:lnTo>
                  <a:pt x="472" y="386"/>
                </a:lnTo>
                <a:lnTo>
                  <a:pt x="504" y="364"/>
                </a:lnTo>
                <a:lnTo>
                  <a:pt x="536" y="338"/>
                </a:lnTo>
                <a:lnTo>
                  <a:pt x="568" y="312"/>
                </a:lnTo>
                <a:lnTo>
                  <a:pt x="596" y="284"/>
                </a:lnTo>
                <a:lnTo>
                  <a:pt x="314" y="0"/>
                </a:lnTo>
                <a:lnTo>
                  <a:pt x="314" y="0"/>
                </a:lnTo>
                <a:lnTo>
                  <a:pt x="282" y="30"/>
                </a:lnTo>
                <a:lnTo>
                  <a:pt x="248" y="56"/>
                </a:lnTo>
                <a:lnTo>
                  <a:pt x="212" y="78"/>
                </a:lnTo>
                <a:lnTo>
                  <a:pt x="172" y="96"/>
                </a:lnTo>
                <a:lnTo>
                  <a:pt x="132" y="112"/>
                </a:lnTo>
                <a:lnTo>
                  <a:pt x="90" y="122"/>
                </a:lnTo>
                <a:lnTo>
                  <a:pt x="46" y="128"/>
                </a:lnTo>
                <a:lnTo>
                  <a:pt x="0" y="132"/>
                </a:lnTo>
                <a:lnTo>
                  <a:pt x="0" y="132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Freeform 11"/>
          <p:cNvSpPr>
            <a:spLocks/>
          </p:cNvSpPr>
          <p:nvPr/>
        </p:nvSpPr>
        <p:spPr bwMode="auto">
          <a:xfrm>
            <a:off x="2992454" y="3081766"/>
            <a:ext cx="515508" cy="460152"/>
          </a:xfrm>
          <a:custGeom>
            <a:avLst/>
            <a:gdLst>
              <a:gd name="T0" fmla="*/ 282 w 596"/>
              <a:gd name="T1" fmla="*/ 0 h 532"/>
              <a:gd name="T2" fmla="*/ 0 w 596"/>
              <a:gd name="T3" fmla="*/ 284 h 532"/>
              <a:gd name="T4" fmla="*/ 0 w 596"/>
              <a:gd name="T5" fmla="*/ 284 h 532"/>
              <a:gd name="T6" fmla="*/ 28 w 596"/>
              <a:gd name="T7" fmla="*/ 312 h 532"/>
              <a:gd name="T8" fmla="*/ 60 w 596"/>
              <a:gd name="T9" fmla="*/ 338 h 532"/>
              <a:gd name="T10" fmla="*/ 92 w 596"/>
              <a:gd name="T11" fmla="*/ 364 h 532"/>
              <a:gd name="T12" fmla="*/ 124 w 596"/>
              <a:gd name="T13" fmla="*/ 386 h 532"/>
              <a:gd name="T14" fmla="*/ 158 w 596"/>
              <a:gd name="T15" fmla="*/ 408 h 532"/>
              <a:gd name="T16" fmla="*/ 194 w 596"/>
              <a:gd name="T17" fmla="*/ 430 h 532"/>
              <a:gd name="T18" fmla="*/ 230 w 596"/>
              <a:gd name="T19" fmla="*/ 448 h 532"/>
              <a:gd name="T20" fmla="*/ 268 w 596"/>
              <a:gd name="T21" fmla="*/ 464 h 532"/>
              <a:gd name="T22" fmla="*/ 306 w 596"/>
              <a:gd name="T23" fmla="*/ 480 h 532"/>
              <a:gd name="T24" fmla="*/ 346 w 596"/>
              <a:gd name="T25" fmla="*/ 494 h 532"/>
              <a:gd name="T26" fmla="*/ 386 w 596"/>
              <a:gd name="T27" fmla="*/ 504 h 532"/>
              <a:gd name="T28" fmla="*/ 426 w 596"/>
              <a:gd name="T29" fmla="*/ 514 h 532"/>
              <a:gd name="T30" fmla="*/ 468 w 596"/>
              <a:gd name="T31" fmla="*/ 522 h 532"/>
              <a:gd name="T32" fmla="*/ 510 w 596"/>
              <a:gd name="T33" fmla="*/ 526 h 532"/>
              <a:gd name="T34" fmla="*/ 552 w 596"/>
              <a:gd name="T35" fmla="*/ 530 h 532"/>
              <a:gd name="T36" fmla="*/ 596 w 596"/>
              <a:gd name="T37" fmla="*/ 532 h 532"/>
              <a:gd name="T38" fmla="*/ 596 w 596"/>
              <a:gd name="T39" fmla="*/ 132 h 532"/>
              <a:gd name="T40" fmla="*/ 596 w 596"/>
              <a:gd name="T41" fmla="*/ 132 h 532"/>
              <a:gd name="T42" fmla="*/ 550 w 596"/>
              <a:gd name="T43" fmla="*/ 128 h 532"/>
              <a:gd name="T44" fmla="*/ 506 w 596"/>
              <a:gd name="T45" fmla="*/ 122 h 532"/>
              <a:gd name="T46" fmla="*/ 464 w 596"/>
              <a:gd name="T47" fmla="*/ 112 h 532"/>
              <a:gd name="T48" fmla="*/ 424 w 596"/>
              <a:gd name="T49" fmla="*/ 96 h 532"/>
              <a:gd name="T50" fmla="*/ 384 w 596"/>
              <a:gd name="T51" fmla="*/ 78 h 532"/>
              <a:gd name="T52" fmla="*/ 348 w 596"/>
              <a:gd name="T53" fmla="*/ 56 h 532"/>
              <a:gd name="T54" fmla="*/ 314 w 596"/>
              <a:gd name="T55" fmla="*/ 30 h 532"/>
              <a:gd name="T56" fmla="*/ 282 w 596"/>
              <a:gd name="T57" fmla="*/ 0 h 532"/>
              <a:gd name="T58" fmla="*/ 282 w 596"/>
              <a:gd name="T59" fmla="*/ 0 h 5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96" h="532">
                <a:moveTo>
                  <a:pt x="282" y="0"/>
                </a:moveTo>
                <a:lnTo>
                  <a:pt x="0" y="284"/>
                </a:lnTo>
                <a:lnTo>
                  <a:pt x="0" y="284"/>
                </a:lnTo>
                <a:lnTo>
                  <a:pt x="28" y="312"/>
                </a:lnTo>
                <a:lnTo>
                  <a:pt x="60" y="338"/>
                </a:lnTo>
                <a:lnTo>
                  <a:pt x="92" y="364"/>
                </a:lnTo>
                <a:lnTo>
                  <a:pt x="124" y="386"/>
                </a:lnTo>
                <a:lnTo>
                  <a:pt x="158" y="408"/>
                </a:lnTo>
                <a:lnTo>
                  <a:pt x="194" y="430"/>
                </a:lnTo>
                <a:lnTo>
                  <a:pt x="230" y="448"/>
                </a:lnTo>
                <a:lnTo>
                  <a:pt x="268" y="464"/>
                </a:lnTo>
                <a:lnTo>
                  <a:pt x="306" y="480"/>
                </a:lnTo>
                <a:lnTo>
                  <a:pt x="346" y="494"/>
                </a:lnTo>
                <a:lnTo>
                  <a:pt x="386" y="504"/>
                </a:lnTo>
                <a:lnTo>
                  <a:pt x="426" y="514"/>
                </a:lnTo>
                <a:lnTo>
                  <a:pt x="468" y="522"/>
                </a:lnTo>
                <a:lnTo>
                  <a:pt x="510" y="526"/>
                </a:lnTo>
                <a:lnTo>
                  <a:pt x="552" y="530"/>
                </a:lnTo>
                <a:lnTo>
                  <a:pt x="596" y="532"/>
                </a:lnTo>
                <a:lnTo>
                  <a:pt x="596" y="132"/>
                </a:lnTo>
                <a:lnTo>
                  <a:pt x="596" y="132"/>
                </a:lnTo>
                <a:lnTo>
                  <a:pt x="550" y="128"/>
                </a:lnTo>
                <a:lnTo>
                  <a:pt x="506" y="122"/>
                </a:lnTo>
                <a:lnTo>
                  <a:pt x="464" y="112"/>
                </a:lnTo>
                <a:lnTo>
                  <a:pt x="424" y="96"/>
                </a:lnTo>
                <a:lnTo>
                  <a:pt x="384" y="78"/>
                </a:lnTo>
                <a:lnTo>
                  <a:pt x="348" y="56"/>
                </a:lnTo>
                <a:lnTo>
                  <a:pt x="314" y="30"/>
                </a:lnTo>
                <a:lnTo>
                  <a:pt x="282" y="0"/>
                </a:lnTo>
                <a:lnTo>
                  <a:pt x="282" y="0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Freeform 12"/>
          <p:cNvSpPr>
            <a:spLocks/>
          </p:cNvSpPr>
          <p:nvPr/>
        </p:nvSpPr>
        <p:spPr bwMode="auto">
          <a:xfrm>
            <a:off x="2777947" y="2294665"/>
            <a:ext cx="458422" cy="517238"/>
          </a:xfrm>
          <a:custGeom>
            <a:avLst/>
            <a:gdLst>
              <a:gd name="T0" fmla="*/ 530 w 530"/>
              <a:gd name="T1" fmla="*/ 284 h 598"/>
              <a:gd name="T2" fmla="*/ 248 w 530"/>
              <a:gd name="T3" fmla="*/ 0 h 598"/>
              <a:gd name="T4" fmla="*/ 248 w 530"/>
              <a:gd name="T5" fmla="*/ 0 h 598"/>
              <a:gd name="T6" fmla="*/ 220 w 530"/>
              <a:gd name="T7" fmla="*/ 30 h 598"/>
              <a:gd name="T8" fmla="*/ 192 w 530"/>
              <a:gd name="T9" fmla="*/ 60 h 598"/>
              <a:gd name="T10" fmla="*/ 168 w 530"/>
              <a:gd name="T11" fmla="*/ 92 h 598"/>
              <a:gd name="T12" fmla="*/ 144 w 530"/>
              <a:gd name="T13" fmla="*/ 126 h 598"/>
              <a:gd name="T14" fmla="*/ 122 w 530"/>
              <a:gd name="T15" fmla="*/ 160 h 598"/>
              <a:gd name="T16" fmla="*/ 102 w 530"/>
              <a:gd name="T17" fmla="*/ 194 h 598"/>
              <a:gd name="T18" fmla="*/ 84 w 530"/>
              <a:gd name="T19" fmla="*/ 232 h 598"/>
              <a:gd name="T20" fmla="*/ 66 w 530"/>
              <a:gd name="T21" fmla="*/ 268 h 598"/>
              <a:gd name="T22" fmla="*/ 52 w 530"/>
              <a:gd name="T23" fmla="*/ 306 h 598"/>
              <a:gd name="T24" fmla="*/ 38 w 530"/>
              <a:gd name="T25" fmla="*/ 346 h 598"/>
              <a:gd name="T26" fmla="*/ 26 w 530"/>
              <a:gd name="T27" fmla="*/ 386 h 598"/>
              <a:gd name="T28" fmla="*/ 18 w 530"/>
              <a:gd name="T29" fmla="*/ 426 h 598"/>
              <a:gd name="T30" fmla="*/ 10 w 530"/>
              <a:gd name="T31" fmla="*/ 468 h 598"/>
              <a:gd name="T32" fmla="*/ 4 w 530"/>
              <a:gd name="T33" fmla="*/ 510 h 598"/>
              <a:gd name="T34" fmla="*/ 2 w 530"/>
              <a:gd name="T35" fmla="*/ 554 h 598"/>
              <a:gd name="T36" fmla="*/ 0 w 530"/>
              <a:gd name="T37" fmla="*/ 598 h 598"/>
              <a:gd name="T38" fmla="*/ 400 w 530"/>
              <a:gd name="T39" fmla="*/ 598 h 598"/>
              <a:gd name="T40" fmla="*/ 400 w 530"/>
              <a:gd name="T41" fmla="*/ 598 h 598"/>
              <a:gd name="T42" fmla="*/ 402 w 530"/>
              <a:gd name="T43" fmla="*/ 552 h 598"/>
              <a:gd name="T44" fmla="*/ 410 w 530"/>
              <a:gd name="T45" fmla="*/ 508 h 598"/>
              <a:gd name="T46" fmla="*/ 420 w 530"/>
              <a:gd name="T47" fmla="*/ 466 h 598"/>
              <a:gd name="T48" fmla="*/ 434 w 530"/>
              <a:gd name="T49" fmla="*/ 424 h 598"/>
              <a:gd name="T50" fmla="*/ 454 w 530"/>
              <a:gd name="T51" fmla="*/ 386 h 598"/>
              <a:gd name="T52" fmla="*/ 476 w 530"/>
              <a:gd name="T53" fmla="*/ 348 h 598"/>
              <a:gd name="T54" fmla="*/ 502 w 530"/>
              <a:gd name="T55" fmla="*/ 314 h 598"/>
              <a:gd name="T56" fmla="*/ 530 w 530"/>
              <a:gd name="T57" fmla="*/ 284 h 598"/>
              <a:gd name="T58" fmla="*/ 530 w 530"/>
              <a:gd name="T59" fmla="*/ 284 h 5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30" h="598">
                <a:moveTo>
                  <a:pt x="530" y="284"/>
                </a:moveTo>
                <a:lnTo>
                  <a:pt x="248" y="0"/>
                </a:lnTo>
                <a:lnTo>
                  <a:pt x="248" y="0"/>
                </a:lnTo>
                <a:lnTo>
                  <a:pt x="220" y="30"/>
                </a:lnTo>
                <a:lnTo>
                  <a:pt x="192" y="60"/>
                </a:lnTo>
                <a:lnTo>
                  <a:pt x="168" y="92"/>
                </a:lnTo>
                <a:lnTo>
                  <a:pt x="144" y="126"/>
                </a:lnTo>
                <a:lnTo>
                  <a:pt x="122" y="160"/>
                </a:lnTo>
                <a:lnTo>
                  <a:pt x="102" y="194"/>
                </a:lnTo>
                <a:lnTo>
                  <a:pt x="84" y="232"/>
                </a:lnTo>
                <a:lnTo>
                  <a:pt x="66" y="268"/>
                </a:lnTo>
                <a:lnTo>
                  <a:pt x="52" y="306"/>
                </a:lnTo>
                <a:lnTo>
                  <a:pt x="38" y="346"/>
                </a:lnTo>
                <a:lnTo>
                  <a:pt x="26" y="386"/>
                </a:lnTo>
                <a:lnTo>
                  <a:pt x="18" y="426"/>
                </a:lnTo>
                <a:lnTo>
                  <a:pt x="10" y="468"/>
                </a:lnTo>
                <a:lnTo>
                  <a:pt x="4" y="510"/>
                </a:lnTo>
                <a:lnTo>
                  <a:pt x="2" y="554"/>
                </a:lnTo>
                <a:lnTo>
                  <a:pt x="0" y="598"/>
                </a:lnTo>
                <a:lnTo>
                  <a:pt x="400" y="598"/>
                </a:lnTo>
                <a:lnTo>
                  <a:pt x="400" y="598"/>
                </a:lnTo>
                <a:lnTo>
                  <a:pt x="402" y="552"/>
                </a:lnTo>
                <a:lnTo>
                  <a:pt x="410" y="508"/>
                </a:lnTo>
                <a:lnTo>
                  <a:pt x="420" y="466"/>
                </a:lnTo>
                <a:lnTo>
                  <a:pt x="434" y="424"/>
                </a:lnTo>
                <a:lnTo>
                  <a:pt x="454" y="386"/>
                </a:lnTo>
                <a:lnTo>
                  <a:pt x="476" y="348"/>
                </a:lnTo>
                <a:lnTo>
                  <a:pt x="502" y="314"/>
                </a:lnTo>
                <a:lnTo>
                  <a:pt x="530" y="284"/>
                </a:lnTo>
                <a:lnTo>
                  <a:pt x="530" y="284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Freeform 13"/>
          <p:cNvSpPr>
            <a:spLocks/>
          </p:cNvSpPr>
          <p:nvPr/>
        </p:nvSpPr>
        <p:spPr bwMode="auto">
          <a:xfrm>
            <a:off x="2777947" y="2811903"/>
            <a:ext cx="458422" cy="515508"/>
          </a:xfrm>
          <a:custGeom>
            <a:avLst/>
            <a:gdLst>
              <a:gd name="T0" fmla="*/ 400 w 530"/>
              <a:gd name="T1" fmla="*/ 0 h 596"/>
              <a:gd name="T2" fmla="*/ 0 w 530"/>
              <a:gd name="T3" fmla="*/ 0 h 596"/>
              <a:gd name="T4" fmla="*/ 0 w 530"/>
              <a:gd name="T5" fmla="*/ 0 h 596"/>
              <a:gd name="T6" fmla="*/ 2 w 530"/>
              <a:gd name="T7" fmla="*/ 42 h 596"/>
              <a:gd name="T8" fmla="*/ 4 w 530"/>
              <a:gd name="T9" fmla="*/ 86 h 596"/>
              <a:gd name="T10" fmla="*/ 10 w 530"/>
              <a:gd name="T11" fmla="*/ 128 h 596"/>
              <a:gd name="T12" fmla="*/ 18 w 530"/>
              <a:gd name="T13" fmla="*/ 170 h 596"/>
              <a:gd name="T14" fmla="*/ 26 w 530"/>
              <a:gd name="T15" fmla="*/ 210 h 596"/>
              <a:gd name="T16" fmla="*/ 38 w 530"/>
              <a:gd name="T17" fmla="*/ 250 h 596"/>
              <a:gd name="T18" fmla="*/ 52 w 530"/>
              <a:gd name="T19" fmla="*/ 290 h 596"/>
              <a:gd name="T20" fmla="*/ 66 w 530"/>
              <a:gd name="T21" fmla="*/ 328 h 596"/>
              <a:gd name="T22" fmla="*/ 84 w 530"/>
              <a:gd name="T23" fmla="*/ 364 h 596"/>
              <a:gd name="T24" fmla="*/ 102 w 530"/>
              <a:gd name="T25" fmla="*/ 402 h 596"/>
              <a:gd name="T26" fmla="*/ 122 w 530"/>
              <a:gd name="T27" fmla="*/ 436 h 596"/>
              <a:gd name="T28" fmla="*/ 144 w 530"/>
              <a:gd name="T29" fmla="*/ 470 h 596"/>
              <a:gd name="T30" fmla="*/ 168 w 530"/>
              <a:gd name="T31" fmla="*/ 504 h 596"/>
              <a:gd name="T32" fmla="*/ 192 w 530"/>
              <a:gd name="T33" fmla="*/ 536 h 596"/>
              <a:gd name="T34" fmla="*/ 220 w 530"/>
              <a:gd name="T35" fmla="*/ 566 h 596"/>
              <a:gd name="T36" fmla="*/ 248 w 530"/>
              <a:gd name="T37" fmla="*/ 596 h 596"/>
              <a:gd name="T38" fmla="*/ 530 w 530"/>
              <a:gd name="T39" fmla="*/ 312 h 596"/>
              <a:gd name="T40" fmla="*/ 530 w 530"/>
              <a:gd name="T41" fmla="*/ 312 h 596"/>
              <a:gd name="T42" fmla="*/ 502 w 530"/>
              <a:gd name="T43" fmla="*/ 282 h 596"/>
              <a:gd name="T44" fmla="*/ 476 w 530"/>
              <a:gd name="T45" fmla="*/ 248 h 596"/>
              <a:gd name="T46" fmla="*/ 454 w 530"/>
              <a:gd name="T47" fmla="*/ 210 h 596"/>
              <a:gd name="T48" fmla="*/ 434 w 530"/>
              <a:gd name="T49" fmla="*/ 172 h 596"/>
              <a:gd name="T50" fmla="*/ 420 w 530"/>
              <a:gd name="T51" fmla="*/ 130 h 596"/>
              <a:gd name="T52" fmla="*/ 410 w 530"/>
              <a:gd name="T53" fmla="*/ 88 h 596"/>
              <a:gd name="T54" fmla="*/ 402 w 530"/>
              <a:gd name="T55" fmla="*/ 44 h 596"/>
              <a:gd name="T56" fmla="*/ 400 w 530"/>
              <a:gd name="T57" fmla="*/ 0 h 596"/>
              <a:gd name="T58" fmla="*/ 400 w 530"/>
              <a:gd name="T59" fmla="*/ 0 h 5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30" h="596">
                <a:moveTo>
                  <a:pt x="400" y="0"/>
                </a:moveTo>
                <a:lnTo>
                  <a:pt x="0" y="0"/>
                </a:lnTo>
                <a:lnTo>
                  <a:pt x="0" y="0"/>
                </a:lnTo>
                <a:lnTo>
                  <a:pt x="2" y="42"/>
                </a:lnTo>
                <a:lnTo>
                  <a:pt x="4" y="86"/>
                </a:lnTo>
                <a:lnTo>
                  <a:pt x="10" y="128"/>
                </a:lnTo>
                <a:lnTo>
                  <a:pt x="18" y="170"/>
                </a:lnTo>
                <a:lnTo>
                  <a:pt x="26" y="210"/>
                </a:lnTo>
                <a:lnTo>
                  <a:pt x="38" y="250"/>
                </a:lnTo>
                <a:lnTo>
                  <a:pt x="52" y="290"/>
                </a:lnTo>
                <a:lnTo>
                  <a:pt x="66" y="328"/>
                </a:lnTo>
                <a:lnTo>
                  <a:pt x="84" y="364"/>
                </a:lnTo>
                <a:lnTo>
                  <a:pt x="102" y="402"/>
                </a:lnTo>
                <a:lnTo>
                  <a:pt x="122" y="436"/>
                </a:lnTo>
                <a:lnTo>
                  <a:pt x="144" y="470"/>
                </a:lnTo>
                <a:lnTo>
                  <a:pt x="168" y="504"/>
                </a:lnTo>
                <a:lnTo>
                  <a:pt x="192" y="536"/>
                </a:lnTo>
                <a:lnTo>
                  <a:pt x="220" y="566"/>
                </a:lnTo>
                <a:lnTo>
                  <a:pt x="248" y="596"/>
                </a:lnTo>
                <a:lnTo>
                  <a:pt x="530" y="312"/>
                </a:lnTo>
                <a:lnTo>
                  <a:pt x="530" y="312"/>
                </a:lnTo>
                <a:lnTo>
                  <a:pt x="502" y="282"/>
                </a:lnTo>
                <a:lnTo>
                  <a:pt x="476" y="248"/>
                </a:lnTo>
                <a:lnTo>
                  <a:pt x="454" y="210"/>
                </a:lnTo>
                <a:lnTo>
                  <a:pt x="434" y="172"/>
                </a:lnTo>
                <a:lnTo>
                  <a:pt x="420" y="130"/>
                </a:lnTo>
                <a:lnTo>
                  <a:pt x="410" y="88"/>
                </a:lnTo>
                <a:lnTo>
                  <a:pt x="402" y="44"/>
                </a:lnTo>
                <a:lnTo>
                  <a:pt x="400" y="0"/>
                </a:lnTo>
                <a:lnTo>
                  <a:pt x="400" y="0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Freeform 14"/>
          <p:cNvSpPr>
            <a:spLocks/>
          </p:cNvSpPr>
          <p:nvPr/>
        </p:nvSpPr>
        <p:spPr bwMode="auto">
          <a:xfrm>
            <a:off x="3123926" y="2427867"/>
            <a:ext cx="768073" cy="768073"/>
          </a:xfrm>
          <a:custGeom>
            <a:avLst/>
            <a:gdLst>
              <a:gd name="T0" fmla="*/ 444 w 888"/>
              <a:gd name="T1" fmla="*/ 0 h 888"/>
              <a:gd name="T2" fmla="*/ 354 w 888"/>
              <a:gd name="T3" fmla="*/ 8 h 888"/>
              <a:gd name="T4" fmla="*/ 272 w 888"/>
              <a:gd name="T5" fmla="*/ 34 h 888"/>
              <a:gd name="T6" fmla="*/ 196 w 888"/>
              <a:gd name="T7" fmla="*/ 74 h 888"/>
              <a:gd name="T8" fmla="*/ 130 w 888"/>
              <a:gd name="T9" fmla="*/ 130 h 888"/>
              <a:gd name="T10" fmla="*/ 102 w 888"/>
              <a:gd name="T11" fmla="*/ 160 h 888"/>
              <a:gd name="T12" fmla="*/ 54 w 888"/>
              <a:gd name="T13" fmla="*/ 232 h 888"/>
              <a:gd name="T14" fmla="*/ 20 w 888"/>
              <a:gd name="T15" fmla="*/ 312 h 888"/>
              <a:gd name="T16" fmla="*/ 2 w 888"/>
              <a:gd name="T17" fmla="*/ 398 h 888"/>
              <a:gd name="T18" fmla="*/ 0 w 888"/>
              <a:gd name="T19" fmla="*/ 444 h 888"/>
              <a:gd name="T20" fmla="*/ 10 w 888"/>
              <a:gd name="T21" fmla="*/ 532 h 888"/>
              <a:gd name="T22" fmla="*/ 34 w 888"/>
              <a:gd name="T23" fmla="*/ 616 h 888"/>
              <a:gd name="T24" fmla="*/ 76 w 888"/>
              <a:gd name="T25" fmla="*/ 692 h 888"/>
              <a:gd name="T26" fmla="*/ 130 w 888"/>
              <a:gd name="T27" fmla="*/ 756 h 888"/>
              <a:gd name="T28" fmla="*/ 162 w 888"/>
              <a:gd name="T29" fmla="*/ 786 h 888"/>
              <a:gd name="T30" fmla="*/ 232 w 888"/>
              <a:gd name="T31" fmla="*/ 834 h 888"/>
              <a:gd name="T32" fmla="*/ 312 w 888"/>
              <a:gd name="T33" fmla="*/ 868 h 888"/>
              <a:gd name="T34" fmla="*/ 398 w 888"/>
              <a:gd name="T35" fmla="*/ 884 h 888"/>
              <a:gd name="T36" fmla="*/ 444 w 888"/>
              <a:gd name="T37" fmla="*/ 888 h 888"/>
              <a:gd name="T38" fmla="*/ 534 w 888"/>
              <a:gd name="T39" fmla="*/ 878 h 888"/>
              <a:gd name="T40" fmla="*/ 616 w 888"/>
              <a:gd name="T41" fmla="*/ 852 h 888"/>
              <a:gd name="T42" fmla="*/ 692 w 888"/>
              <a:gd name="T43" fmla="*/ 812 h 888"/>
              <a:gd name="T44" fmla="*/ 758 w 888"/>
              <a:gd name="T45" fmla="*/ 756 h 888"/>
              <a:gd name="T46" fmla="*/ 786 w 888"/>
              <a:gd name="T47" fmla="*/ 726 h 888"/>
              <a:gd name="T48" fmla="*/ 834 w 888"/>
              <a:gd name="T49" fmla="*/ 654 h 888"/>
              <a:gd name="T50" fmla="*/ 868 w 888"/>
              <a:gd name="T51" fmla="*/ 574 h 888"/>
              <a:gd name="T52" fmla="*/ 886 w 888"/>
              <a:gd name="T53" fmla="*/ 488 h 888"/>
              <a:gd name="T54" fmla="*/ 888 w 888"/>
              <a:gd name="T55" fmla="*/ 444 h 888"/>
              <a:gd name="T56" fmla="*/ 878 w 888"/>
              <a:gd name="T57" fmla="*/ 354 h 888"/>
              <a:gd name="T58" fmla="*/ 854 w 888"/>
              <a:gd name="T59" fmla="*/ 270 h 888"/>
              <a:gd name="T60" fmla="*/ 812 w 888"/>
              <a:gd name="T61" fmla="*/ 194 h 888"/>
              <a:gd name="T62" fmla="*/ 758 w 888"/>
              <a:gd name="T63" fmla="*/ 130 h 888"/>
              <a:gd name="T64" fmla="*/ 726 w 888"/>
              <a:gd name="T65" fmla="*/ 100 h 888"/>
              <a:gd name="T66" fmla="*/ 656 w 888"/>
              <a:gd name="T67" fmla="*/ 52 h 888"/>
              <a:gd name="T68" fmla="*/ 576 w 888"/>
              <a:gd name="T69" fmla="*/ 18 h 888"/>
              <a:gd name="T70" fmla="*/ 490 w 888"/>
              <a:gd name="T71" fmla="*/ 2 h 888"/>
              <a:gd name="T72" fmla="*/ 444 w 888"/>
              <a:gd name="T73" fmla="*/ 0 h 8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88" h="888">
                <a:moveTo>
                  <a:pt x="444" y="0"/>
                </a:moveTo>
                <a:lnTo>
                  <a:pt x="444" y="0"/>
                </a:lnTo>
                <a:lnTo>
                  <a:pt x="398" y="2"/>
                </a:lnTo>
                <a:lnTo>
                  <a:pt x="354" y="8"/>
                </a:lnTo>
                <a:lnTo>
                  <a:pt x="312" y="18"/>
                </a:lnTo>
                <a:lnTo>
                  <a:pt x="272" y="34"/>
                </a:lnTo>
                <a:lnTo>
                  <a:pt x="232" y="52"/>
                </a:lnTo>
                <a:lnTo>
                  <a:pt x="196" y="74"/>
                </a:lnTo>
                <a:lnTo>
                  <a:pt x="162" y="100"/>
                </a:lnTo>
                <a:lnTo>
                  <a:pt x="130" y="130"/>
                </a:lnTo>
                <a:lnTo>
                  <a:pt x="130" y="130"/>
                </a:lnTo>
                <a:lnTo>
                  <a:pt x="102" y="160"/>
                </a:lnTo>
                <a:lnTo>
                  <a:pt x="76" y="194"/>
                </a:lnTo>
                <a:lnTo>
                  <a:pt x="54" y="232"/>
                </a:lnTo>
                <a:lnTo>
                  <a:pt x="34" y="270"/>
                </a:lnTo>
                <a:lnTo>
                  <a:pt x="20" y="312"/>
                </a:lnTo>
                <a:lnTo>
                  <a:pt x="10" y="354"/>
                </a:lnTo>
                <a:lnTo>
                  <a:pt x="2" y="398"/>
                </a:lnTo>
                <a:lnTo>
                  <a:pt x="0" y="444"/>
                </a:lnTo>
                <a:lnTo>
                  <a:pt x="0" y="444"/>
                </a:lnTo>
                <a:lnTo>
                  <a:pt x="2" y="488"/>
                </a:lnTo>
                <a:lnTo>
                  <a:pt x="10" y="532"/>
                </a:lnTo>
                <a:lnTo>
                  <a:pt x="20" y="574"/>
                </a:lnTo>
                <a:lnTo>
                  <a:pt x="34" y="616"/>
                </a:lnTo>
                <a:lnTo>
                  <a:pt x="54" y="654"/>
                </a:lnTo>
                <a:lnTo>
                  <a:pt x="76" y="692"/>
                </a:lnTo>
                <a:lnTo>
                  <a:pt x="102" y="726"/>
                </a:lnTo>
                <a:lnTo>
                  <a:pt x="130" y="756"/>
                </a:lnTo>
                <a:lnTo>
                  <a:pt x="130" y="756"/>
                </a:lnTo>
                <a:lnTo>
                  <a:pt x="162" y="786"/>
                </a:lnTo>
                <a:lnTo>
                  <a:pt x="196" y="812"/>
                </a:lnTo>
                <a:lnTo>
                  <a:pt x="232" y="834"/>
                </a:lnTo>
                <a:lnTo>
                  <a:pt x="272" y="852"/>
                </a:lnTo>
                <a:lnTo>
                  <a:pt x="312" y="868"/>
                </a:lnTo>
                <a:lnTo>
                  <a:pt x="354" y="878"/>
                </a:lnTo>
                <a:lnTo>
                  <a:pt x="398" y="884"/>
                </a:lnTo>
                <a:lnTo>
                  <a:pt x="444" y="888"/>
                </a:lnTo>
                <a:lnTo>
                  <a:pt x="444" y="888"/>
                </a:lnTo>
                <a:lnTo>
                  <a:pt x="490" y="884"/>
                </a:lnTo>
                <a:lnTo>
                  <a:pt x="534" y="878"/>
                </a:lnTo>
                <a:lnTo>
                  <a:pt x="576" y="868"/>
                </a:lnTo>
                <a:lnTo>
                  <a:pt x="616" y="852"/>
                </a:lnTo>
                <a:lnTo>
                  <a:pt x="656" y="834"/>
                </a:lnTo>
                <a:lnTo>
                  <a:pt x="692" y="812"/>
                </a:lnTo>
                <a:lnTo>
                  <a:pt x="726" y="786"/>
                </a:lnTo>
                <a:lnTo>
                  <a:pt x="758" y="756"/>
                </a:lnTo>
                <a:lnTo>
                  <a:pt x="758" y="756"/>
                </a:lnTo>
                <a:lnTo>
                  <a:pt x="786" y="726"/>
                </a:lnTo>
                <a:lnTo>
                  <a:pt x="812" y="692"/>
                </a:lnTo>
                <a:lnTo>
                  <a:pt x="834" y="654"/>
                </a:lnTo>
                <a:lnTo>
                  <a:pt x="854" y="616"/>
                </a:lnTo>
                <a:lnTo>
                  <a:pt x="868" y="574"/>
                </a:lnTo>
                <a:lnTo>
                  <a:pt x="878" y="532"/>
                </a:lnTo>
                <a:lnTo>
                  <a:pt x="886" y="488"/>
                </a:lnTo>
                <a:lnTo>
                  <a:pt x="888" y="444"/>
                </a:lnTo>
                <a:lnTo>
                  <a:pt x="888" y="444"/>
                </a:lnTo>
                <a:lnTo>
                  <a:pt x="886" y="398"/>
                </a:lnTo>
                <a:lnTo>
                  <a:pt x="878" y="354"/>
                </a:lnTo>
                <a:lnTo>
                  <a:pt x="868" y="312"/>
                </a:lnTo>
                <a:lnTo>
                  <a:pt x="854" y="270"/>
                </a:lnTo>
                <a:lnTo>
                  <a:pt x="834" y="232"/>
                </a:lnTo>
                <a:lnTo>
                  <a:pt x="812" y="194"/>
                </a:lnTo>
                <a:lnTo>
                  <a:pt x="786" y="160"/>
                </a:lnTo>
                <a:lnTo>
                  <a:pt x="758" y="130"/>
                </a:lnTo>
                <a:lnTo>
                  <a:pt x="758" y="130"/>
                </a:lnTo>
                <a:lnTo>
                  <a:pt x="726" y="100"/>
                </a:lnTo>
                <a:lnTo>
                  <a:pt x="692" y="74"/>
                </a:lnTo>
                <a:lnTo>
                  <a:pt x="656" y="52"/>
                </a:lnTo>
                <a:lnTo>
                  <a:pt x="616" y="34"/>
                </a:lnTo>
                <a:lnTo>
                  <a:pt x="576" y="18"/>
                </a:lnTo>
                <a:lnTo>
                  <a:pt x="534" y="8"/>
                </a:lnTo>
                <a:lnTo>
                  <a:pt x="490" y="2"/>
                </a:lnTo>
                <a:lnTo>
                  <a:pt x="444" y="0"/>
                </a:lnTo>
                <a:lnTo>
                  <a:pt x="444" y="0"/>
                </a:lnTo>
                <a:close/>
              </a:path>
            </a:pathLst>
          </a:custGeom>
          <a:noFill/>
          <a:ln w="28575">
            <a:solidFill>
              <a:srgbClr val="0D65AC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Oval 46"/>
          <p:cNvSpPr/>
          <p:nvPr/>
        </p:nvSpPr>
        <p:spPr>
          <a:xfrm>
            <a:off x="2777947" y="2081888"/>
            <a:ext cx="1471841" cy="1471841"/>
          </a:xfrm>
          <a:prstGeom prst="ellipse">
            <a:avLst/>
          </a:prstGeom>
          <a:noFill/>
          <a:ln>
            <a:solidFill>
              <a:srgbClr val="0D65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9" name="Freeform 5"/>
          <p:cNvSpPr>
            <a:spLocks noEditPoints="1"/>
          </p:cNvSpPr>
          <p:nvPr/>
        </p:nvSpPr>
        <p:spPr bwMode="auto">
          <a:xfrm>
            <a:off x="4822364" y="2012692"/>
            <a:ext cx="1598422" cy="1598422"/>
          </a:xfrm>
          <a:custGeom>
            <a:avLst/>
            <a:gdLst>
              <a:gd name="T0" fmla="*/ 832 w 1848"/>
              <a:gd name="T1" fmla="*/ 1842 h 1848"/>
              <a:gd name="T2" fmla="*/ 654 w 1848"/>
              <a:gd name="T3" fmla="*/ 1808 h 1848"/>
              <a:gd name="T4" fmla="*/ 488 w 1848"/>
              <a:gd name="T5" fmla="*/ 1738 h 1848"/>
              <a:gd name="T6" fmla="*/ 338 w 1848"/>
              <a:gd name="T7" fmla="*/ 1638 h 1848"/>
              <a:gd name="T8" fmla="*/ 238 w 1848"/>
              <a:gd name="T9" fmla="*/ 1542 h 1848"/>
              <a:gd name="T10" fmla="*/ 130 w 1848"/>
              <a:gd name="T11" fmla="*/ 1398 h 1848"/>
              <a:gd name="T12" fmla="*/ 54 w 1848"/>
              <a:gd name="T13" fmla="*/ 1234 h 1848"/>
              <a:gd name="T14" fmla="*/ 10 w 1848"/>
              <a:gd name="T15" fmla="*/ 1060 h 1848"/>
              <a:gd name="T16" fmla="*/ 0 w 1848"/>
              <a:gd name="T17" fmla="*/ 924 h 1848"/>
              <a:gd name="T18" fmla="*/ 18 w 1848"/>
              <a:gd name="T19" fmla="*/ 742 h 1848"/>
              <a:gd name="T20" fmla="*/ 70 w 1848"/>
              <a:gd name="T21" fmla="*/ 570 h 1848"/>
              <a:gd name="T22" fmla="*/ 154 w 1848"/>
              <a:gd name="T23" fmla="*/ 410 h 1848"/>
              <a:gd name="T24" fmla="*/ 270 w 1848"/>
              <a:gd name="T25" fmla="*/ 270 h 1848"/>
              <a:gd name="T26" fmla="*/ 374 w 1848"/>
              <a:gd name="T27" fmla="*/ 180 h 1848"/>
              <a:gd name="T28" fmla="*/ 530 w 1848"/>
              <a:gd name="T29" fmla="*/ 88 h 1848"/>
              <a:gd name="T30" fmla="*/ 698 w 1848"/>
              <a:gd name="T31" fmla="*/ 26 h 1848"/>
              <a:gd name="T32" fmla="*/ 878 w 1848"/>
              <a:gd name="T33" fmla="*/ 0 h 1848"/>
              <a:gd name="T34" fmla="*/ 1016 w 1848"/>
              <a:gd name="T35" fmla="*/ 4 h 1848"/>
              <a:gd name="T36" fmla="*/ 1194 w 1848"/>
              <a:gd name="T37" fmla="*/ 38 h 1848"/>
              <a:gd name="T38" fmla="*/ 1360 w 1848"/>
              <a:gd name="T39" fmla="*/ 108 h 1848"/>
              <a:gd name="T40" fmla="*/ 1510 w 1848"/>
              <a:gd name="T41" fmla="*/ 208 h 1848"/>
              <a:gd name="T42" fmla="*/ 1610 w 1848"/>
              <a:gd name="T43" fmla="*/ 304 h 1848"/>
              <a:gd name="T44" fmla="*/ 1718 w 1848"/>
              <a:gd name="T45" fmla="*/ 448 h 1848"/>
              <a:gd name="T46" fmla="*/ 1794 w 1848"/>
              <a:gd name="T47" fmla="*/ 612 h 1848"/>
              <a:gd name="T48" fmla="*/ 1838 w 1848"/>
              <a:gd name="T49" fmla="*/ 786 h 1848"/>
              <a:gd name="T50" fmla="*/ 1848 w 1848"/>
              <a:gd name="T51" fmla="*/ 924 h 1848"/>
              <a:gd name="T52" fmla="*/ 1830 w 1848"/>
              <a:gd name="T53" fmla="*/ 1104 h 1848"/>
              <a:gd name="T54" fmla="*/ 1778 w 1848"/>
              <a:gd name="T55" fmla="*/ 1276 h 1848"/>
              <a:gd name="T56" fmla="*/ 1694 w 1848"/>
              <a:gd name="T57" fmla="*/ 1436 h 1848"/>
              <a:gd name="T58" fmla="*/ 1578 w 1848"/>
              <a:gd name="T59" fmla="*/ 1576 h 1848"/>
              <a:gd name="T60" fmla="*/ 1474 w 1848"/>
              <a:gd name="T61" fmla="*/ 1666 h 1848"/>
              <a:gd name="T62" fmla="*/ 1318 w 1848"/>
              <a:gd name="T63" fmla="*/ 1758 h 1848"/>
              <a:gd name="T64" fmla="*/ 1150 w 1848"/>
              <a:gd name="T65" fmla="*/ 1820 h 1848"/>
              <a:gd name="T66" fmla="*/ 970 w 1848"/>
              <a:gd name="T67" fmla="*/ 1846 h 1848"/>
              <a:gd name="T68" fmla="*/ 924 w 1848"/>
              <a:gd name="T69" fmla="*/ 560 h 1848"/>
              <a:gd name="T70" fmla="*/ 784 w 1848"/>
              <a:gd name="T71" fmla="*/ 586 h 1848"/>
              <a:gd name="T72" fmla="*/ 666 w 1848"/>
              <a:gd name="T73" fmla="*/ 666 h 1848"/>
              <a:gd name="T74" fmla="*/ 602 w 1848"/>
              <a:gd name="T75" fmla="*/ 752 h 1848"/>
              <a:gd name="T76" fmla="*/ 562 w 1848"/>
              <a:gd name="T77" fmla="*/ 886 h 1848"/>
              <a:gd name="T78" fmla="*/ 568 w 1848"/>
              <a:gd name="T79" fmla="*/ 994 h 1848"/>
              <a:gd name="T80" fmla="*/ 622 w 1848"/>
              <a:gd name="T81" fmla="*/ 1124 h 1848"/>
              <a:gd name="T82" fmla="*/ 694 w 1848"/>
              <a:gd name="T83" fmla="*/ 1204 h 1848"/>
              <a:gd name="T84" fmla="*/ 818 w 1848"/>
              <a:gd name="T85" fmla="*/ 1272 h 1848"/>
              <a:gd name="T86" fmla="*/ 924 w 1848"/>
              <a:gd name="T87" fmla="*/ 1288 h 1848"/>
              <a:gd name="T88" fmla="*/ 1064 w 1848"/>
              <a:gd name="T89" fmla="*/ 1260 h 1848"/>
              <a:gd name="T90" fmla="*/ 1182 w 1848"/>
              <a:gd name="T91" fmla="*/ 1180 h 1848"/>
              <a:gd name="T92" fmla="*/ 1246 w 1848"/>
              <a:gd name="T93" fmla="*/ 1094 h 1848"/>
              <a:gd name="T94" fmla="*/ 1286 w 1848"/>
              <a:gd name="T95" fmla="*/ 960 h 1848"/>
              <a:gd name="T96" fmla="*/ 1282 w 1848"/>
              <a:gd name="T97" fmla="*/ 852 h 1848"/>
              <a:gd name="T98" fmla="*/ 1226 w 1848"/>
              <a:gd name="T99" fmla="*/ 722 h 1848"/>
              <a:gd name="T100" fmla="*/ 1154 w 1848"/>
              <a:gd name="T101" fmla="*/ 642 h 1848"/>
              <a:gd name="T102" fmla="*/ 1030 w 1848"/>
              <a:gd name="T103" fmla="*/ 574 h 1848"/>
              <a:gd name="T104" fmla="*/ 924 w 1848"/>
              <a:gd name="T105" fmla="*/ 560 h 1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848" h="1848">
                <a:moveTo>
                  <a:pt x="924" y="1848"/>
                </a:moveTo>
                <a:lnTo>
                  <a:pt x="924" y="1848"/>
                </a:lnTo>
                <a:lnTo>
                  <a:pt x="878" y="1846"/>
                </a:lnTo>
                <a:lnTo>
                  <a:pt x="832" y="1842"/>
                </a:lnTo>
                <a:lnTo>
                  <a:pt x="788" y="1836"/>
                </a:lnTo>
                <a:lnTo>
                  <a:pt x="742" y="1830"/>
                </a:lnTo>
                <a:lnTo>
                  <a:pt x="698" y="1820"/>
                </a:lnTo>
                <a:lnTo>
                  <a:pt x="654" y="1808"/>
                </a:lnTo>
                <a:lnTo>
                  <a:pt x="612" y="1794"/>
                </a:lnTo>
                <a:lnTo>
                  <a:pt x="570" y="1778"/>
                </a:lnTo>
                <a:lnTo>
                  <a:pt x="530" y="1758"/>
                </a:lnTo>
                <a:lnTo>
                  <a:pt x="488" y="1738"/>
                </a:lnTo>
                <a:lnTo>
                  <a:pt x="450" y="1716"/>
                </a:lnTo>
                <a:lnTo>
                  <a:pt x="412" y="1692"/>
                </a:lnTo>
                <a:lnTo>
                  <a:pt x="374" y="1666"/>
                </a:lnTo>
                <a:lnTo>
                  <a:pt x="338" y="1638"/>
                </a:lnTo>
                <a:lnTo>
                  <a:pt x="304" y="1608"/>
                </a:lnTo>
                <a:lnTo>
                  <a:pt x="270" y="1576"/>
                </a:lnTo>
                <a:lnTo>
                  <a:pt x="270" y="1576"/>
                </a:lnTo>
                <a:lnTo>
                  <a:pt x="238" y="1542"/>
                </a:lnTo>
                <a:lnTo>
                  <a:pt x="208" y="1508"/>
                </a:lnTo>
                <a:lnTo>
                  <a:pt x="180" y="1472"/>
                </a:lnTo>
                <a:lnTo>
                  <a:pt x="154" y="1436"/>
                </a:lnTo>
                <a:lnTo>
                  <a:pt x="130" y="1398"/>
                </a:lnTo>
                <a:lnTo>
                  <a:pt x="108" y="1358"/>
                </a:lnTo>
                <a:lnTo>
                  <a:pt x="88" y="1318"/>
                </a:lnTo>
                <a:lnTo>
                  <a:pt x="70" y="1276"/>
                </a:lnTo>
                <a:lnTo>
                  <a:pt x="54" y="1234"/>
                </a:lnTo>
                <a:lnTo>
                  <a:pt x="40" y="1192"/>
                </a:lnTo>
                <a:lnTo>
                  <a:pt x="28" y="1148"/>
                </a:lnTo>
                <a:lnTo>
                  <a:pt x="18" y="1104"/>
                </a:lnTo>
                <a:lnTo>
                  <a:pt x="10" y="1060"/>
                </a:lnTo>
                <a:lnTo>
                  <a:pt x="4" y="1014"/>
                </a:lnTo>
                <a:lnTo>
                  <a:pt x="2" y="970"/>
                </a:lnTo>
                <a:lnTo>
                  <a:pt x="0" y="924"/>
                </a:lnTo>
                <a:lnTo>
                  <a:pt x="0" y="924"/>
                </a:lnTo>
                <a:lnTo>
                  <a:pt x="2" y="876"/>
                </a:lnTo>
                <a:lnTo>
                  <a:pt x="4" y="832"/>
                </a:lnTo>
                <a:lnTo>
                  <a:pt x="10" y="786"/>
                </a:lnTo>
                <a:lnTo>
                  <a:pt x="18" y="742"/>
                </a:lnTo>
                <a:lnTo>
                  <a:pt x="28" y="698"/>
                </a:lnTo>
                <a:lnTo>
                  <a:pt x="40" y="654"/>
                </a:lnTo>
                <a:lnTo>
                  <a:pt x="54" y="612"/>
                </a:lnTo>
                <a:lnTo>
                  <a:pt x="70" y="570"/>
                </a:lnTo>
                <a:lnTo>
                  <a:pt x="88" y="528"/>
                </a:lnTo>
                <a:lnTo>
                  <a:pt x="108" y="488"/>
                </a:lnTo>
                <a:lnTo>
                  <a:pt x="130" y="448"/>
                </a:lnTo>
                <a:lnTo>
                  <a:pt x="154" y="410"/>
                </a:lnTo>
                <a:lnTo>
                  <a:pt x="180" y="374"/>
                </a:lnTo>
                <a:lnTo>
                  <a:pt x="208" y="338"/>
                </a:lnTo>
                <a:lnTo>
                  <a:pt x="238" y="304"/>
                </a:lnTo>
                <a:lnTo>
                  <a:pt x="270" y="270"/>
                </a:lnTo>
                <a:lnTo>
                  <a:pt x="270" y="270"/>
                </a:lnTo>
                <a:lnTo>
                  <a:pt x="304" y="238"/>
                </a:lnTo>
                <a:lnTo>
                  <a:pt x="338" y="208"/>
                </a:lnTo>
                <a:lnTo>
                  <a:pt x="374" y="180"/>
                </a:lnTo>
                <a:lnTo>
                  <a:pt x="412" y="154"/>
                </a:lnTo>
                <a:lnTo>
                  <a:pt x="450" y="130"/>
                </a:lnTo>
                <a:lnTo>
                  <a:pt x="488" y="108"/>
                </a:lnTo>
                <a:lnTo>
                  <a:pt x="530" y="88"/>
                </a:lnTo>
                <a:lnTo>
                  <a:pt x="570" y="68"/>
                </a:lnTo>
                <a:lnTo>
                  <a:pt x="612" y="52"/>
                </a:lnTo>
                <a:lnTo>
                  <a:pt x="654" y="38"/>
                </a:lnTo>
                <a:lnTo>
                  <a:pt x="698" y="26"/>
                </a:lnTo>
                <a:lnTo>
                  <a:pt x="742" y="16"/>
                </a:lnTo>
                <a:lnTo>
                  <a:pt x="788" y="10"/>
                </a:lnTo>
                <a:lnTo>
                  <a:pt x="832" y="4"/>
                </a:lnTo>
                <a:lnTo>
                  <a:pt x="878" y="0"/>
                </a:lnTo>
                <a:lnTo>
                  <a:pt x="924" y="0"/>
                </a:lnTo>
                <a:lnTo>
                  <a:pt x="924" y="0"/>
                </a:lnTo>
                <a:lnTo>
                  <a:pt x="970" y="0"/>
                </a:lnTo>
                <a:lnTo>
                  <a:pt x="1016" y="4"/>
                </a:lnTo>
                <a:lnTo>
                  <a:pt x="1060" y="10"/>
                </a:lnTo>
                <a:lnTo>
                  <a:pt x="1106" y="16"/>
                </a:lnTo>
                <a:lnTo>
                  <a:pt x="1150" y="26"/>
                </a:lnTo>
                <a:lnTo>
                  <a:pt x="1194" y="38"/>
                </a:lnTo>
                <a:lnTo>
                  <a:pt x="1236" y="52"/>
                </a:lnTo>
                <a:lnTo>
                  <a:pt x="1278" y="68"/>
                </a:lnTo>
                <a:lnTo>
                  <a:pt x="1318" y="88"/>
                </a:lnTo>
                <a:lnTo>
                  <a:pt x="1360" y="108"/>
                </a:lnTo>
                <a:lnTo>
                  <a:pt x="1398" y="130"/>
                </a:lnTo>
                <a:lnTo>
                  <a:pt x="1436" y="154"/>
                </a:lnTo>
                <a:lnTo>
                  <a:pt x="1474" y="180"/>
                </a:lnTo>
                <a:lnTo>
                  <a:pt x="1510" y="208"/>
                </a:lnTo>
                <a:lnTo>
                  <a:pt x="1544" y="238"/>
                </a:lnTo>
                <a:lnTo>
                  <a:pt x="1578" y="270"/>
                </a:lnTo>
                <a:lnTo>
                  <a:pt x="1578" y="270"/>
                </a:lnTo>
                <a:lnTo>
                  <a:pt x="1610" y="304"/>
                </a:lnTo>
                <a:lnTo>
                  <a:pt x="1640" y="338"/>
                </a:lnTo>
                <a:lnTo>
                  <a:pt x="1668" y="374"/>
                </a:lnTo>
                <a:lnTo>
                  <a:pt x="1694" y="410"/>
                </a:lnTo>
                <a:lnTo>
                  <a:pt x="1718" y="448"/>
                </a:lnTo>
                <a:lnTo>
                  <a:pt x="1740" y="488"/>
                </a:lnTo>
                <a:lnTo>
                  <a:pt x="1760" y="528"/>
                </a:lnTo>
                <a:lnTo>
                  <a:pt x="1778" y="570"/>
                </a:lnTo>
                <a:lnTo>
                  <a:pt x="1794" y="612"/>
                </a:lnTo>
                <a:lnTo>
                  <a:pt x="1808" y="654"/>
                </a:lnTo>
                <a:lnTo>
                  <a:pt x="1820" y="698"/>
                </a:lnTo>
                <a:lnTo>
                  <a:pt x="1830" y="742"/>
                </a:lnTo>
                <a:lnTo>
                  <a:pt x="1838" y="786"/>
                </a:lnTo>
                <a:lnTo>
                  <a:pt x="1844" y="832"/>
                </a:lnTo>
                <a:lnTo>
                  <a:pt x="1846" y="876"/>
                </a:lnTo>
                <a:lnTo>
                  <a:pt x="1848" y="924"/>
                </a:lnTo>
                <a:lnTo>
                  <a:pt x="1848" y="924"/>
                </a:lnTo>
                <a:lnTo>
                  <a:pt x="1846" y="970"/>
                </a:lnTo>
                <a:lnTo>
                  <a:pt x="1844" y="1014"/>
                </a:lnTo>
                <a:lnTo>
                  <a:pt x="1838" y="1060"/>
                </a:lnTo>
                <a:lnTo>
                  <a:pt x="1830" y="1104"/>
                </a:lnTo>
                <a:lnTo>
                  <a:pt x="1820" y="1148"/>
                </a:lnTo>
                <a:lnTo>
                  <a:pt x="1808" y="1192"/>
                </a:lnTo>
                <a:lnTo>
                  <a:pt x="1794" y="1234"/>
                </a:lnTo>
                <a:lnTo>
                  <a:pt x="1778" y="1276"/>
                </a:lnTo>
                <a:lnTo>
                  <a:pt x="1760" y="1318"/>
                </a:lnTo>
                <a:lnTo>
                  <a:pt x="1740" y="1358"/>
                </a:lnTo>
                <a:lnTo>
                  <a:pt x="1718" y="1398"/>
                </a:lnTo>
                <a:lnTo>
                  <a:pt x="1694" y="1436"/>
                </a:lnTo>
                <a:lnTo>
                  <a:pt x="1668" y="1472"/>
                </a:lnTo>
                <a:lnTo>
                  <a:pt x="1640" y="1508"/>
                </a:lnTo>
                <a:lnTo>
                  <a:pt x="1610" y="1542"/>
                </a:lnTo>
                <a:lnTo>
                  <a:pt x="1578" y="1576"/>
                </a:lnTo>
                <a:lnTo>
                  <a:pt x="1578" y="1576"/>
                </a:lnTo>
                <a:lnTo>
                  <a:pt x="1544" y="1608"/>
                </a:lnTo>
                <a:lnTo>
                  <a:pt x="1510" y="1638"/>
                </a:lnTo>
                <a:lnTo>
                  <a:pt x="1474" y="1666"/>
                </a:lnTo>
                <a:lnTo>
                  <a:pt x="1436" y="1692"/>
                </a:lnTo>
                <a:lnTo>
                  <a:pt x="1398" y="1716"/>
                </a:lnTo>
                <a:lnTo>
                  <a:pt x="1360" y="1738"/>
                </a:lnTo>
                <a:lnTo>
                  <a:pt x="1318" y="1758"/>
                </a:lnTo>
                <a:lnTo>
                  <a:pt x="1278" y="1778"/>
                </a:lnTo>
                <a:lnTo>
                  <a:pt x="1236" y="1794"/>
                </a:lnTo>
                <a:lnTo>
                  <a:pt x="1194" y="1808"/>
                </a:lnTo>
                <a:lnTo>
                  <a:pt x="1150" y="1820"/>
                </a:lnTo>
                <a:lnTo>
                  <a:pt x="1106" y="1830"/>
                </a:lnTo>
                <a:lnTo>
                  <a:pt x="1060" y="1836"/>
                </a:lnTo>
                <a:lnTo>
                  <a:pt x="1016" y="1842"/>
                </a:lnTo>
                <a:lnTo>
                  <a:pt x="970" y="1846"/>
                </a:lnTo>
                <a:lnTo>
                  <a:pt x="924" y="1848"/>
                </a:lnTo>
                <a:lnTo>
                  <a:pt x="924" y="1848"/>
                </a:lnTo>
                <a:close/>
                <a:moveTo>
                  <a:pt x="924" y="560"/>
                </a:moveTo>
                <a:lnTo>
                  <a:pt x="924" y="560"/>
                </a:lnTo>
                <a:lnTo>
                  <a:pt x="888" y="560"/>
                </a:lnTo>
                <a:lnTo>
                  <a:pt x="852" y="566"/>
                </a:lnTo>
                <a:lnTo>
                  <a:pt x="818" y="574"/>
                </a:lnTo>
                <a:lnTo>
                  <a:pt x="784" y="586"/>
                </a:lnTo>
                <a:lnTo>
                  <a:pt x="752" y="602"/>
                </a:lnTo>
                <a:lnTo>
                  <a:pt x="722" y="620"/>
                </a:lnTo>
                <a:lnTo>
                  <a:pt x="694" y="642"/>
                </a:lnTo>
                <a:lnTo>
                  <a:pt x="666" y="666"/>
                </a:lnTo>
                <a:lnTo>
                  <a:pt x="666" y="666"/>
                </a:lnTo>
                <a:lnTo>
                  <a:pt x="642" y="692"/>
                </a:lnTo>
                <a:lnTo>
                  <a:pt x="622" y="722"/>
                </a:lnTo>
                <a:lnTo>
                  <a:pt x="602" y="752"/>
                </a:lnTo>
                <a:lnTo>
                  <a:pt x="588" y="784"/>
                </a:lnTo>
                <a:lnTo>
                  <a:pt x="576" y="818"/>
                </a:lnTo>
                <a:lnTo>
                  <a:pt x="566" y="852"/>
                </a:lnTo>
                <a:lnTo>
                  <a:pt x="562" y="886"/>
                </a:lnTo>
                <a:lnTo>
                  <a:pt x="560" y="924"/>
                </a:lnTo>
                <a:lnTo>
                  <a:pt x="560" y="924"/>
                </a:lnTo>
                <a:lnTo>
                  <a:pt x="562" y="960"/>
                </a:lnTo>
                <a:lnTo>
                  <a:pt x="568" y="994"/>
                </a:lnTo>
                <a:lnTo>
                  <a:pt x="576" y="1028"/>
                </a:lnTo>
                <a:lnTo>
                  <a:pt x="588" y="1062"/>
                </a:lnTo>
                <a:lnTo>
                  <a:pt x="602" y="1094"/>
                </a:lnTo>
                <a:lnTo>
                  <a:pt x="622" y="1124"/>
                </a:lnTo>
                <a:lnTo>
                  <a:pt x="642" y="1154"/>
                </a:lnTo>
                <a:lnTo>
                  <a:pt x="666" y="1180"/>
                </a:lnTo>
                <a:lnTo>
                  <a:pt x="666" y="1180"/>
                </a:lnTo>
                <a:lnTo>
                  <a:pt x="694" y="1204"/>
                </a:lnTo>
                <a:lnTo>
                  <a:pt x="722" y="1226"/>
                </a:lnTo>
                <a:lnTo>
                  <a:pt x="752" y="1244"/>
                </a:lnTo>
                <a:lnTo>
                  <a:pt x="784" y="1260"/>
                </a:lnTo>
                <a:lnTo>
                  <a:pt x="818" y="1272"/>
                </a:lnTo>
                <a:lnTo>
                  <a:pt x="852" y="1280"/>
                </a:lnTo>
                <a:lnTo>
                  <a:pt x="888" y="1286"/>
                </a:lnTo>
                <a:lnTo>
                  <a:pt x="924" y="1288"/>
                </a:lnTo>
                <a:lnTo>
                  <a:pt x="924" y="1288"/>
                </a:lnTo>
                <a:lnTo>
                  <a:pt x="960" y="1286"/>
                </a:lnTo>
                <a:lnTo>
                  <a:pt x="996" y="1280"/>
                </a:lnTo>
                <a:lnTo>
                  <a:pt x="1030" y="1272"/>
                </a:lnTo>
                <a:lnTo>
                  <a:pt x="1064" y="1260"/>
                </a:lnTo>
                <a:lnTo>
                  <a:pt x="1096" y="1244"/>
                </a:lnTo>
                <a:lnTo>
                  <a:pt x="1126" y="1226"/>
                </a:lnTo>
                <a:lnTo>
                  <a:pt x="1154" y="1204"/>
                </a:lnTo>
                <a:lnTo>
                  <a:pt x="1182" y="1180"/>
                </a:lnTo>
                <a:lnTo>
                  <a:pt x="1182" y="1180"/>
                </a:lnTo>
                <a:lnTo>
                  <a:pt x="1206" y="1154"/>
                </a:lnTo>
                <a:lnTo>
                  <a:pt x="1226" y="1124"/>
                </a:lnTo>
                <a:lnTo>
                  <a:pt x="1246" y="1094"/>
                </a:lnTo>
                <a:lnTo>
                  <a:pt x="1260" y="1062"/>
                </a:lnTo>
                <a:lnTo>
                  <a:pt x="1272" y="1028"/>
                </a:lnTo>
                <a:lnTo>
                  <a:pt x="1282" y="994"/>
                </a:lnTo>
                <a:lnTo>
                  <a:pt x="1286" y="960"/>
                </a:lnTo>
                <a:lnTo>
                  <a:pt x="1288" y="924"/>
                </a:lnTo>
                <a:lnTo>
                  <a:pt x="1288" y="924"/>
                </a:lnTo>
                <a:lnTo>
                  <a:pt x="1286" y="886"/>
                </a:lnTo>
                <a:lnTo>
                  <a:pt x="1282" y="852"/>
                </a:lnTo>
                <a:lnTo>
                  <a:pt x="1272" y="818"/>
                </a:lnTo>
                <a:lnTo>
                  <a:pt x="1260" y="784"/>
                </a:lnTo>
                <a:lnTo>
                  <a:pt x="1246" y="752"/>
                </a:lnTo>
                <a:lnTo>
                  <a:pt x="1226" y="722"/>
                </a:lnTo>
                <a:lnTo>
                  <a:pt x="1206" y="692"/>
                </a:lnTo>
                <a:lnTo>
                  <a:pt x="1182" y="666"/>
                </a:lnTo>
                <a:lnTo>
                  <a:pt x="1182" y="666"/>
                </a:lnTo>
                <a:lnTo>
                  <a:pt x="1154" y="642"/>
                </a:lnTo>
                <a:lnTo>
                  <a:pt x="1126" y="620"/>
                </a:lnTo>
                <a:lnTo>
                  <a:pt x="1096" y="602"/>
                </a:lnTo>
                <a:lnTo>
                  <a:pt x="1064" y="586"/>
                </a:lnTo>
                <a:lnTo>
                  <a:pt x="1030" y="574"/>
                </a:lnTo>
                <a:lnTo>
                  <a:pt x="996" y="566"/>
                </a:lnTo>
                <a:lnTo>
                  <a:pt x="960" y="560"/>
                </a:lnTo>
                <a:lnTo>
                  <a:pt x="924" y="560"/>
                </a:lnTo>
                <a:lnTo>
                  <a:pt x="924" y="560"/>
                </a:lnTo>
                <a:close/>
              </a:path>
            </a:pathLst>
          </a:custGeom>
          <a:solidFill>
            <a:srgbClr val="D5D5D5"/>
          </a:solidFill>
          <a:ln w="3175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0" name="Freeform 6"/>
          <p:cNvSpPr>
            <a:spLocks/>
          </p:cNvSpPr>
          <p:nvPr/>
        </p:nvSpPr>
        <p:spPr bwMode="auto">
          <a:xfrm>
            <a:off x="5621575" y="2081888"/>
            <a:ext cx="515508" cy="458422"/>
          </a:xfrm>
          <a:custGeom>
            <a:avLst/>
            <a:gdLst>
              <a:gd name="T0" fmla="*/ 314 w 596"/>
              <a:gd name="T1" fmla="*/ 530 h 530"/>
              <a:gd name="T2" fmla="*/ 596 w 596"/>
              <a:gd name="T3" fmla="*/ 246 h 530"/>
              <a:gd name="T4" fmla="*/ 596 w 596"/>
              <a:gd name="T5" fmla="*/ 246 h 530"/>
              <a:gd name="T6" fmla="*/ 568 w 596"/>
              <a:gd name="T7" fmla="*/ 218 h 530"/>
              <a:gd name="T8" fmla="*/ 536 w 596"/>
              <a:gd name="T9" fmla="*/ 192 h 530"/>
              <a:gd name="T10" fmla="*/ 504 w 596"/>
              <a:gd name="T11" fmla="*/ 166 h 530"/>
              <a:gd name="T12" fmla="*/ 472 w 596"/>
              <a:gd name="T13" fmla="*/ 144 h 530"/>
              <a:gd name="T14" fmla="*/ 438 w 596"/>
              <a:gd name="T15" fmla="*/ 122 h 530"/>
              <a:gd name="T16" fmla="*/ 402 w 596"/>
              <a:gd name="T17" fmla="*/ 100 h 530"/>
              <a:gd name="T18" fmla="*/ 366 w 596"/>
              <a:gd name="T19" fmla="*/ 82 h 530"/>
              <a:gd name="T20" fmla="*/ 328 w 596"/>
              <a:gd name="T21" fmla="*/ 66 h 530"/>
              <a:gd name="T22" fmla="*/ 290 w 596"/>
              <a:gd name="T23" fmla="*/ 50 h 530"/>
              <a:gd name="T24" fmla="*/ 250 w 596"/>
              <a:gd name="T25" fmla="*/ 36 h 530"/>
              <a:gd name="T26" fmla="*/ 210 w 596"/>
              <a:gd name="T27" fmla="*/ 26 h 530"/>
              <a:gd name="T28" fmla="*/ 170 w 596"/>
              <a:gd name="T29" fmla="*/ 16 h 530"/>
              <a:gd name="T30" fmla="*/ 128 w 596"/>
              <a:gd name="T31" fmla="*/ 8 h 530"/>
              <a:gd name="T32" fmla="*/ 86 w 596"/>
              <a:gd name="T33" fmla="*/ 4 h 530"/>
              <a:gd name="T34" fmla="*/ 44 w 596"/>
              <a:gd name="T35" fmla="*/ 0 h 530"/>
              <a:gd name="T36" fmla="*/ 0 w 596"/>
              <a:gd name="T37" fmla="*/ 0 h 530"/>
              <a:gd name="T38" fmla="*/ 0 w 596"/>
              <a:gd name="T39" fmla="*/ 400 h 530"/>
              <a:gd name="T40" fmla="*/ 0 w 596"/>
              <a:gd name="T41" fmla="*/ 400 h 530"/>
              <a:gd name="T42" fmla="*/ 46 w 596"/>
              <a:gd name="T43" fmla="*/ 402 h 530"/>
              <a:gd name="T44" fmla="*/ 90 w 596"/>
              <a:gd name="T45" fmla="*/ 408 h 530"/>
              <a:gd name="T46" fmla="*/ 132 w 596"/>
              <a:gd name="T47" fmla="*/ 418 h 530"/>
              <a:gd name="T48" fmla="*/ 172 w 596"/>
              <a:gd name="T49" fmla="*/ 434 h 530"/>
              <a:gd name="T50" fmla="*/ 212 w 596"/>
              <a:gd name="T51" fmla="*/ 452 h 530"/>
              <a:gd name="T52" fmla="*/ 248 w 596"/>
              <a:gd name="T53" fmla="*/ 474 h 530"/>
              <a:gd name="T54" fmla="*/ 282 w 596"/>
              <a:gd name="T55" fmla="*/ 500 h 530"/>
              <a:gd name="T56" fmla="*/ 314 w 596"/>
              <a:gd name="T57" fmla="*/ 530 h 530"/>
              <a:gd name="T58" fmla="*/ 314 w 596"/>
              <a:gd name="T59" fmla="*/ 530 h 5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96" h="530">
                <a:moveTo>
                  <a:pt x="314" y="530"/>
                </a:moveTo>
                <a:lnTo>
                  <a:pt x="596" y="246"/>
                </a:lnTo>
                <a:lnTo>
                  <a:pt x="596" y="246"/>
                </a:lnTo>
                <a:lnTo>
                  <a:pt x="568" y="218"/>
                </a:lnTo>
                <a:lnTo>
                  <a:pt x="536" y="192"/>
                </a:lnTo>
                <a:lnTo>
                  <a:pt x="504" y="166"/>
                </a:lnTo>
                <a:lnTo>
                  <a:pt x="472" y="144"/>
                </a:lnTo>
                <a:lnTo>
                  <a:pt x="438" y="122"/>
                </a:lnTo>
                <a:lnTo>
                  <a:pt x="402" y="100"/>
                </a:lnTo>
                <a:lnTo>
                  <a:pt x="366" y="82"/>
                </a:lnTo>
                <a:lnTo>
                  <a:pt x="328" y="66"/>
                </a:lnTo>
                <a:lnTo>
                  <a:pt x="290" y="50"/>
                </a:lnTo>
                <a:lnTo>
                  <a:pt x="250" y="36"/>
                </a:lnTo>
                <a:lnTo>
                  <a:pt x="210" y="26"/>
                </a:lnTo>
                <a:lnTo>
                  <a:pt x="170" y="16"/>
                </a:lnTo>
                <a:lnTo>
                  <a:pt x="128" y="8"/>
                </a:lnTo>
                <a:lnTo>
                  <a:pt x="86" y="4"/>
                </a:lnTo>
                <a:lnTo>
                  <a:pt x="44" y="0"/>
                </a:lnTo>
                <a:lnTo>
                  <a:pt x="0" y="0"/>
                </a:lnTo>
                <a:lnTo>
                  <a:pt x="0" y="400"/>
                </a:lnTo>
                <a:lnTo>
                  <a:pt x="0" y="400"/>
                </a:lnTo>
                <a:lnTo>
                  <a:pt x="46" y="402"/>
                </a:lnTo>
                <a:lnTo>
                  <a:pt x="90" y="408"/>
                </a:lnTo>
                <a:lnTo>
                  <a:pt x="132" y="418"/>
                </a:lnTo>
                <a:lnTo>
                  <a:pt x="172" y="434"/>
                </a:lnTo>
                <a:lnTo>
                  <a:pt x="212" y="452"/>
                </a:lnTo>
                <a:lnTo>
                  <a:pt x="248" y="474"/>
                </a:lnTo>
                <a:lnTo>
                  <a:pt x="282" y="500"/>
                </a:lnTo>
                <a:lnTo>
                  <a:pt x="314" y="530"/>
                </a:lnTo>
                <a:lnTo>
                  <a:pt x="314" y="530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7"/>
          <p:cNvSpPr>
            <a:spLocks/>
          </p:cNvSpPr>
          <p:nvPr/>
        </p:nvSpPr>
        <p:spPr bwMode="auto">
          <a:xfrm>
            <a:off x="5893168" y="2294665"/>
            <a:ext cx="458422" cy="517238"/>
          </a:xfrm>
          <a:custGeom>
            <a:avLst/>
            <a:gdLst>
              <a:gd name="T0" fmla="*/ 130 w 530"/>
              <a:gd name="T1" fmla="*/ 598 h 598"/>
              <a:gd name="T2" fmla="*/ 530 w 530"/>
              <a:gd name="T3" fmla="*/ 598 h 598"/>
              <a:gd name="T4" fmla="*/ 530 w 530"/>
              <a:gd name="T5" fmla="*/ 598 h 598"/>
              <a:gd name="T6" fmla="*/ 528 w 530"/>
              <a:gd name="T7" fmla="*/ 554 h 598"/>
              <a:gd name="T8" fmla="*/ 526 w 530"/>
              <a:gd name="T9" fmla="*/ 510 h 598"/>
              <a:gd name="T10" fmla="*/ 520 w 530"/>
              <a:gd name="T11" fmla="*/ 468 h 598"/>
              <a:gd name="T12" fmla="*/ 512 w 530"/>
              <a:gd name="T13" fmla="*/ 426 h 598"/>
              <a:gd name="T14" fmla="*/ 504 w 530"/>
              <a:gd name="T15" fmla="*/ 386 h 598"/>
              <a:gd name="T16" fmla="*/ 492 w 530"/>
              <a:gd name="T17" fmla="*/ 346 h 598"/>
              <a:gd name="T18" fmla="*/ 478 w 530"/>
              <a:gd name="T19" fmla="*/ 306 h 598"/>
              <a:gd name="T20" fmla="*/ 464 w 530"/>
              <a:gd name="T21" fmla="*/ 268 h 598"/>
              <a:gd name="T22" fmla="*/ 446 w 530"/>
              <a:gd name="T23" fmla="*/ 232 h 598"/>
              <a:gd name="T24" fmla="*/ 428 w 530"/>
              <a:gd name="T25" fmla="*/ 194 h 598"/>
              <a:gd name="T26" fmla="*/ 408 w 530"/>
              <a:gd name="T27" fmla="*/ 160 h 598"/>
              <a:gd name="T28" fmla="*/ 386 w 530"/>
              <a:gd name="T29" fmla="*/ 126 h 598"/>
              <a:gd name="T30" fmla="*/ 362 w 530"/>
              <a:gd name="T31" fmla="*/ 92 h 598"/>
              <a:gd name="T32" fmla="*/ 338 w 530"/>
              <a:gd name="T33" fmla="*/ 60 h 598"/>
              <a:gd name="T34" fmla="*/ 310 w 530"/>
              <a:gd name="T35" fmla="*/ 30 h 598"/>
              <a:gd name="T36" fmla="*/ 282 w 530"/>
              <a:gd name="T37" fmla="*/ 0 h 598"/>
              <a:gd name="T38" fmla="*/ 0 w 530"/>
              <a:gd name="T39" fmla="*/ 284 h 598"/>
              <a:gd name="T40" fmla="*/ 0 w 530"/>
              <a:gd name="T41" fmla="*/ 284 h 598"/>
              <a:gd name="T42" fmla="*/ 28 w 530"/>
              <a:gd name="T43" fmla="*/ 314 h 598"/>
              <a:gd name="T44" fmla="*/ 54 w 530"/>
              <a:gd name="T45" fmla="*/ 348 h 598"/>
              <a:gd name="T46" fmla="*/ 76 w 530"/>
              <a:gd name="T47" fmla="*/ 386 h 598"/>
              <a:gd name="T48" fmla="*/ 96 w 530"/>
              <a:gd name="T49" fmla="*/ 424 h 598"/>
              <a:gd name="T50" fmla="*/ 110 w 530"/>
              <a:gd name="T51" fmla="*/ 466 h 598"/>
              <a:gd name="T52" fmla="*/ 120 w 530"/>
              <a:gd name="T53" fmla="*/ 508 h 598"/>
              <a:gd name="T54" fmla="*/ 128 w 530"/>
              <a:gd name="T55" fmla="*/ 552 h 598"/>
              <a:gd name="T56" fmla="*/ 130 w 530"/>
              <a:gd name="T57" fmla="*/ 598 h 598"/>
              <a:gd name="T58" fmla="*/ 130 w 530"/>
              <a:gd name="T59" fmla="*/ 598 h 5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30" h="598">
                <a:moveTo>
                  <a:pt x="130" y="598"/>
                </a:moveTo>
                <a:lnTo>
                  <a:pt x="530" y="598"/>
                </a:lnTo>
                <a:lnTo>
                  <a:pt x="530" y="598"/>
                </a:lnTo>
                <a:lnTo>
                  <a:pt x="528" y="554"/>
                </a:lnTo>
                <a:lnTo>
                  <a:pt x="526" y="510"/>
                </a:lnTo>
                <a:lnTo>
                  <a:pt x="520" y="468"/>
                </a:lnTo>
                <a:lnTo>
                  <a:pt x="512" y="426"/>
                </a:lnTo>
                <a:lnTo>
                  <a:pt x="504" y="386"/>
                </a:lnTo>
                <a:lnTo>
                  <a:pt x="492" y="346"/>
                </a:lnTo>
                <a:lnTo>
                  <a:pt x="478" y="306"/>
                </a:lnTo>
                <a:lnTo>
                  <a:pt x="464" y="268"/>
                </a:lnTo>
                <a:lnTo>
                  <a:pt x="446" y="232"/>
                </a:lnTo>
                <a:lnTo>
                  <a:pt x="428" y="194"/>
                </a:lnTo>
                <a:lnTo>
                  <a:pt x="408" y="160"/>
                </a:lnTo>
                <a:lnTo>
                  <a:pt x="386" y="126"/>
                </a:lnTo>
                <a:lnTo>
                  <a:pt x="362" y="92"/>
                </a:lnTo>
                <a:lnTo>
                  <a:pt x="338" y="60"/>
                </a:lnTo>
                <a:lnTo>
                  <a:pt x="310" y="30"/>
                </a:lnTo>
                <a:lnTo>
                  <a:pt x="282" y="0"/>
                </a:lnTo>
                <a:lnTo>
                  <a:pt x="0" y="284"/>
                </a:lnTo>
                <a:lnTo>
                  <a:pt x="0" y="284"/>
                </a:lnTo>
                <a:lnTo>
                  <a:pt x="28" y="314"/>
                </a:lnTo>
                <a:lnTo>
                  <a:pt x="54" y="348"/>
                </a:lnTo>
                <a:lnTo>
                  <a:pt x="76" y="386"/>
                </a:lnTo>
                <a:lnTo>
                  <a:pt x="96" y="424"/>
                </a:lnTo>
                <a:lnTo>
                  <a:pt x="110" y="466"/>
                </a:lnTo>
                <a:lnTo>
                  <a:pt x="120" y="508"/>
                </a:lnTo>
                <a:lnTo>
                  <a:pt x="128" y="552"/>
                </a:lnTo>
                <a:lnTo>
                  <a:pt x="130" y="598"/>
                </a:lnTo>
                <a:lnTo>
                  <a:pt x="130" y="598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8"/>
          <p:cNvSpPr>
            <a:spLocks/>
          </p:cNvSpPr>
          <p:nvPr/>
        </p:nvSpPr>
        <p:spPr bwMode="auto">
          <a:xfrm>
            <a:off x="5106067" y="2081888"/>
            <a:ext cx="515508" cy="458422"/>
          </a:xfrm>
          <a:custGeom>
            <a:avLst/>
            <a:gdLst>
              <a:gd name="T0" fmla="*/ 596 w 596"/>
              <a:gd name="T1" fmla="*/ 400 h 530"/>
              <a:gd name="T2" fmla="*/ 596 w 596"/>
              <a:gd name="T3" fmla="*/ 0 h 530"/>
              <a:gd name="T4" fmla="*/ 596 w 596"/>
              <a:gd name="T5" fmla="*/ 0 h 530"/>
              <a:gd name="T6" fmla="*/ 552 w 596"/>
              <a:gd name="T7" fmla="*/ 0 h 530"/>
              <a:gd name="T8" fmla="*/ 510 w 596"/>
              <a:gd name="T9" fmla="*/ 4 h 530"/>
              <a:gd name="T10" fmla="*/ 468 w 596"/>
              <a:gd name="T11" fmla="*/ 8 h 530"/>
              <a:gd name="T12" fmla="*/ 426 w 596"/>
              <a:gd name="T13" fmla="*/ 16 h 530"/>
              <a:gd name="T14" fmla="*/ 386 w 596"/>
              <a:gd name="T15" fmla="*/ 26 h 530"/>
              <a:gd name="T16" fmla="*/ 346 w 596"/>
              <a:gd name="T17" fmla="*/ 36 h 530"/>
              <a:gd name="T18" fmla="*/ 306 w 596"/>
              <a:gd name="T19" fmla="*/ 50 h 530"/>
              <a:gd name="T20" fmla="*/ 268 w 596"/>
              <a:gd name="T21" fmla="*/ 66 h 530"/>
              <a:gd name="T22" fmla="*/ 230 w 596"/>
              <a:gd name="T23" fmla="*/ 82 h 530"/>
              <a:gd name="T24" fmla="*/ 194 w 596"/>
              <a:gd name="T25" fmla="*/ 100 h 530"/>
              <a:gd name="T26" fmla="*/ 158 w 596"/>
              <a:gd name="T27" fmla="*/ 122 h 530"/>
              <a:gd name="T28" fmla="*/ 124 w 596"/>
              <a:gd name="T29" fmla="*/ 144 h 530"/>
              <a:gd name="T30" fmla="*/ 92 w 596"/>
              <a:gd name="T31" fmla="*/ 166 h 530"/>
              <a:gd name="T32" fmla="*/ 60 w 596"/>
              <a:gd name="T33" fmla="*/ 192 h 530"/>
              <a:gd name="T34" fmla="*/ 28 w 596"/>
              <a:gd name="T35" fmla="*/ 218 h 530"/>
              <a:gd name="T36" fmla="*/ 0 w 596"/>
              <a:gd name="T37" fmla="*/ 246 h 530"/>
              <a:gd name="T38" fmla="*/ 282 w 596"/>
              <a:gd name="T39" fmla="*/ 530 h 530"/>
              <a:gd name="T40" fmla="*/ 282 w 596"/>
              <a:gd name="T41" fmla="*/ 530 h 530"/>
              <a:gd name="T42" fmla="*/ 314 w 596"/>
              <a:gd name="T43" fmla="*/ 500 h 530"/>
              <a:gd name="T44" fmla="*/ 348 w 596"/>
              <a:gd name="T45" fmla="*/ 474 h 530"/>
              <a:gd name="T46" fmla="*/ 384 w 596"/>
              <a:gd name="T47" fmla="*/ 452 h 530"/>
              <a:gd name="T48" fmla="*/ 424 w 596"/>
              <a:gd name="T49" fmla="*/ 434 h 530"/>
              <a:gd name="T50" fmla="*/ 464 w 596"/>
              <a:gd name="T51" fmla="*/ 418 h 530"/>
              <a:gd name="T52" fmla="*/ 506 w 596"/>
              <a:gd name="T53" fmla="*/ 408 h 530"/>
              <a:gd name="T54" fmla="*/ 550 w 596"/>
              <a:gd name="T55" fmla="*/ 402 h 530"/>
              <a:gd name="T56" fmla="*/ 596 w 596"/>
              <a:gd name="T57" fmla="*/ 400 h 530"/>
              <a:gd name="T58" fmla="*/ 596 w 596"/>
              <a:gd name="T59" fmla="*/ 400 h 5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96" h="530">
                <a:moveTo>
                  <a:pt x="596" y="400"/>
                </a:moveTo>
                <a:lnTo>
                  <a:pt x="596" y="0"/>
                </a:lnTo>
                <a:lnTo>
                  <a:pt x="596" y="0"/>
                </a:lnTo>
                <a:lnTo>
                  <a:pt x="552" y="0"/>
                </a:lnTo>
                <a:lnTo>
                  <a:pt x="510" y="4"/>
                </a:lnTo>
                <a:lnTo>
                  <a:pt x="468" y="8"/>
                </a:lnTo>
                <a:lnTo>
                  <a:pt x="426" y="16"/>
                </a:lnTo>
                <a:lnTo>
                  <a:pt x="386" y="26"/>
                </a:lnTo>
                <a:lnTo>
                  <a:pt x="346" y="36"/>
                </a:lnTo>
                <a:lnTo>
                  <a:pt x="306" y="50"/>
                </a:lnTo>
                <a:lnTo>
                  <a:pt x="268" y="66"/>
                </a:lnTo>
                <a:lnTo>
                  <a:pt x="230" y="82"/>
                </a:lnTo>
                <a:lnTo>
                  <a:pt x="194" y="100"/>
                </a:lnTo>
                <a:lnTo>
                  <a:pt x="158" y="122"/>
                </a:lnTo>
                <a:lnTo>
                  <a:pt x="124" y="144"/>
                </a:lnTo>
                <a:lnTo>
                  <a:pt x="92" y="166"/>
                </a:lnTo>
                <a:lnTo>
                  <a:pt x="60" y="192"/>
                </a:lnTo>
                <a:lnTo>
                  <a:pt x="28" y="218"/>
                </a:lnTo>
                <a:lnTo>
                  <a:pt x="0" y="246"/>
                </a:lnTo>
                <a:lnTo>
                  <a:pt x="282" y="530"/>
                </a:lnTo>
                <a:lnTo>
                  <a:pt x="282" y="530"/>
                </a:lnTo>
                <a:lnTo>
                  <a:pt x="314" y="500"/>
                </a:lnTo>
                <a:lnTo>
                  <a:pt x="348" y="474"/>
                </a:lnTo>
                <a:lnTo>
                  <a:pt x="384" y="452"/>
                </a:lnTo>
                <a:lnTo>
                  <a:pt x="424" y="434"/>
                </a:lnTo>
                <a:lnTo>
                  <a:pt x="464" y="418"/>
                </a:lnTo>
                <a:lnTo>
                  <a:pt x="506" y="408"/>
                </a:lnTo>
                <a:lnTo>
                  <a:pt x="550" y="402"/>
                </a:lnTo>
                <a:lnTo>
                  <a:pt x="596" y="400"/>
                </a:lnTo>
                <a:lnTo>
                  <a:pt x="596" y="400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Freeform 9"/>
          <p:cNvSpPr>
            <a:spLocks/>
          </p:cNvSpPr>
          <p:nvPr/>
        </p:nvSpPr>
        <p:spPr bwMode="auto">
          <a:xfrm>
            <a:off x="5893168" y="2811903"/>
            <a:ext cx="458422" cy="515508"/>
          </a:xfrm>
          <a:custGeom>
            <a:avLst/>
            <a:gdLst>
              <a:gd name="T0" fmla="*/ 130 w 530"/>
              <a:gd name="T1" fmla="*/ 0 h 596"/>
              <a:gd name="T2" fmla="*/ 130 w 530"/>
              <a:gd name="T3" fmla="*/ 0 h 596"/>
              <a:gd name="T4" fmla="*/ 128 w 530"/>
              <a:gd name="T5" fmla="*/ 44 h 596"/>
              <a:gd name="T6" fmla="*/ 120 w 530"/>
              <a:gd name="T7" fmla="*/ 88 h 596"/>
              <a:gd name="T8" fmla="*/ 110 w 530"/>
              <a:gd name="T9" fmla="*/ 130 h 596"/>
              <a:gd name="T10" fmla="*/ 96 w 530"/>
              <a:gd name="T11" fmla="*/ 172 h 596"/>
              <a:gd name="T12" fmla="*/ 76 w 530"/>
              <a:gd name="T13" fmla="*/ 210 h 596"/>
              <a:gd name="T14" fmla="*/ 54 w 530"/>
              <a:gd name="T15" fmla="*/ 248 h 596"/>
              <a:gd name="T16" fmla="*/ 28 w 530"/>
              <a:gd name="T17" fmla="*/ 282 h 596"/>
              <a:gd name="T18" fmla="*/ 0 w 530"/>
              <a:gd name="T19" fmla="*/ 312 h 596"/>
              <a:gd name="T20" fmla="*/ 282 w 530"/>
              <a:gd name="T21" fmla="*/ 596 h 596"/>
              <a:gd name="T22" fmla="*/ 282 w 530"/>
              <a:gd name="T23" fmla="*/ 596 h 596"/>
              <a:gd name="T24" fmla="*/ 310 w 530"/>
              <a:gd name="T25" fmla="*/ 566 h 596"/>
              <a:gd name="T26" fmla="*/ 338 w 530"/>
              <a:gd name="T27" fmla="*/ 536 h 596"/>
              <a:gd name="T28" fmla="*/ 362 w 530"/>
              <a:gd name="T29" fmla="*/ 504 h 596"/>
              <a:gd name="T30" fmla="*/ 386 w 530"/>
              <a:gd name="T31" fmla="*/ 470 h 596"/>
              <a:gd name="T32" fmla="*/ 408 w 530"/>
              <a:gd name="T33" fmla="*/ 436 h 596"/>
              <a:gd name="T34" fmla="*/ 428 w 530"/>
              <a:gd name="T35" fmla="*/ 402 h 596"/>
              <a:gd name="T36" fmla="*/ 446 w 530"/>
              <a:gd name="T37" fmla="*/ 364 h 596"/>
              <a:gd name="T38" fmla="*/ 464 w 530"/>
              <a:gd name="T39" fmla="*/ 328 h 596"/>
              <a:gd name="T40" fmla="*/ 478 w 530"/>
              <a:gd name="T41" fmla="*/ 290 h 596"/>
              <a:gd name="T42" fmla="*/ 492 w 530"/>
              <a:gd name="T43" fmla="*/ 250 h 596"/>
              <a:gd name="T44" fmla="*/ 504 w 530"/>
              <a:gd name="T45" fmla="*/ 210 h 596"/>
              <a:gd name="T46" fmla="*/ 512 w 530"/>
              <a:gd name="T47" fmla="*/ 170 h 596"/>
              <a:gd name="T48" fmla="*/ 520 w 530"/>
              <a:gd name="T49" fmla="*/ 128 h 596"/>
              <a:gd name="T50" fmla="*/ 526 w 530"/>
              <a:gd name="T51" fmla="*/ 86 h 596"/>
              <a:gd name="T52" fmla="*/ 528 w 530"/>
              <a:gd name="T53" fmla="*/ 42 h 596"/>
              <a:gd name="T54" fmla="*/ 530 w 530"/>
              <a:gd name="T55" fmla="*/ 0 h 596"/>
              <a:gd name="T56" fmla="*/ 130 w 530"/>
              <a:gd name="T57" fmla="*/ 0 h 5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530" h="596">
                <a:moveTo>
                  <a:pt x="130" y="0"/>
                </a:moveTo>
                <a:lnTo>
                  <a:pt x="130" y="0"/>
                </a:lnTo>
                <a:lnTo>
                  <a:pt x="128" y="44"/>
                </a:lnTo>
                <a:lnTo>
                  <a:pt x="120" y="88"/>
                </a:lnTo>
                <a:lnTo>
                  <a:pt x="110" y="130"/>
                </a:lnTo>
                <a:lnTo>
                  <a:pt x="96" y="172"/>
                </a:lnTo>
                <a:lnTo>
                  <a:pt x="76" y="210"/>
                </a:lnTo>
                <a:lnTo>
                  <a:pt x="54" y="248"/>
                </a:lnTo>
                <a:lnTo>
                  <a:pt x="28" y="282"/>
                </a:lnTo>
                <a:lnTo>
                  <a:pt x="0" y="312"/>
                </a:lnTo>
                <a:lnTo>
                  <a:pt x="282" y="596"/>
                </a:lnTo>
                <a:lnTo>
                  <a:pt x="282" y="596"/>
                </a:lnTo>
                <a:lnTo>
                  <a:pt x="310" y="566"/>
                </a:lnTo>
                <a:lnTo>
                  <a:pt x="338" y="536"/>
                </a:lnTo>
                <a:lnTo>
                  <a:pt x="362" y="504"/>
                </a:lnTo>
                <a:lnTo>
                  <a:pt x="386" y="470"/>
                </a:lnTo>
                <a:lnTo>
                  <a:pt x="408" y="436"/>
                </a:lnTo>
                <a:lnTo>
                  <a:pt x="428" y="402"/>
                </a:lnTo>
                <a:lnTo>
                  <a:pt x="446" y="364"/>
                </a:lnTo>
                <a:lnTo>
                  <a:pt x="464" y="328"/>
                </a:lnTo>
                <a:lnTo>
                  <a:pt x="478" y="290"/>
                </a:lnTo>
                <a:lnTo>
                  <a:pt x="492" y="250"/>
                </a:lnTo>
                <a:lnTo>
                  <a:pt x="504" y="210"/>
                </a:lnTo>
                <a:lnTo>
                  <a:pt x="512" y="170"/>
                </a:lnTo>
                <a:lnTo>
                  <a:pt x="520" y="128"/>
                </a:lnTo>
                <a:lnTo>
                  <a:pt x="526" y="86"/>
                </a:lnTo>
                <a:lnTo>
                  <a:pt x="528" y="42"/>
                </a:lnTo>
                <a:lnTo>
                  <a:pt x="530" y="0"/>
                </a:lnTo>
                <a:lnTo>
                  <a:pt x="130" y="0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10"/>
          <p:cNvSpPr>
            <a:spLocks/>
          </p:cNvSpPr>
          <p:nvPr/>
        </p:nvSpPr>
        <p:spPr bwMode="auto">
          <a:xfrm>
            <a:off x="5621575" y="3081766"/>
            <a:ext cx="515508" cy="460152"/>
          </a:xfrm>
          <a:custGeom>
            <a:avLst/>
            <a:gdLst>
              <a:gd name="T0" fmla="*/ 0 w 596"/>
              <a:gd name="T1" fmla="*/ 132 h 532"/>
              <a:gd name="T2" fmla="*/ 0 w 596"/>
              <a:gd name="T3" fmla="*/ 532 h 532"/>
              <a:gd name="T4" fmla="*/ 0 w 596"/>
              <a:gd name="T5" fmla="*/ 532 h 532"/>
              <a:gd name="T6" fmla="*/ 44 w 596"/>
              <a:gd name="T7" fmla="*/ 530 h 532"/>
              <a:gd name="T8" fmla="*/ 86 w 596"/>
              <a:gd name="T9" fmla="*/ 526 h 532"/>
              <a:gd name="T10" fmla="*/ 128 w 596"/>
              <a:gd name="T11" fmla="*/ 522 h 532"/>
              <a:gd name="T12" fmla="*/ 170 w 596"/>
              <a:gd name="T13" fmla="*/ 514 h 532"/>
              <a:gd name="T14" fmla="*/ 210 w 596"/>
              <a:gd name="T15" fmla="*/ 504 h 532"/>
              <a:gd name="T16" fmla="*/ 250 w 596"/>
              <a:gd name="T17" fmla="*/ 494 h 532"/>
              <a:gd name="T18" fmla="*/ 290 w 596"/>
              <a:gd name="T19" fmla="*/ 480 h 532"/>
              <a:gd name="T20" fmla="*/ 328 w 596"/>
              <a:gd name="T21" fmla="*/ 464 h 532"/>
              <a:gd name="T22" fmla="*/ 366 w 596"/>
              <a:gd name="T23" fmla="*/ 448 h 532"/>
              <a:gd name="T24" fmla="*/ 402 w 596"/>
              <a:gd name="T25" fmla="*/ 430 h 532"/>
              <a:gd name="T26" fmla="*/ 438 w 596"/>
              <a:gd name="T27" fmla="*/ 408 h 532"/>
              <a:gd name="T28" fmla="*/ 472 w 596"/>
              <a:gd name="T29" fmla="*/ 386 h 532"/>
              <a:gd name="T30" fmla="*/ 504 w 596"/>
              <a:gd name="T31" fmla="*/ 364 h 532"/>
              <a:gd name="T32" fmla="*/ 536 w 596"/>
              <a:gd name="T33" fmla="*/ 338 h 532"/>
              <a:gd name="T34" fmla="*/ 568 w 596"/>
              <a:gd name="T35" fmla="*/ 312 h 532"/>
              <a:gd name="T36" fmla="*/ 596 w 596"/>
              <a:gd name="T37" fmla="*/ 284 h 532"/>
              <a:gd name="T38" fmla="*/ 314 w 596"/>
              <a:gd name="T39" fmla="*/ 0 h 532"/>
              <a:gd name="T40" fmla="*/ 314 w 596"/>
              <a:gd name="T41" fmla="*/ 0 h 532"/>
              <a:gd name="T42" fmla="*/ 282 w 596"/>
              <a:gd name="T43" fmla="*/ 30 h 532"/>
              <a:gd name="T44" fmla="*/ 248 w 596"/>
              <a:gd name="T45" fmla="*/ 56 h 532"/>
              <a:gd name="T46" fmla="*/ 212 w 596"/>
              <a:gd name="T47" fmla="*/ 78 h 532"/>
              <a:gd name="T48" fmla="*/ 172 w 596"/>
              <a:gd name="T49" fmla="*/ 96 h 532"/>
              <a:gd name="T50" fmla="*/ 132 w 596"/>
              <a:gd name="T51" fmla="*/ 112 h 532"/>
              <a:gd name="T52" fmla="*/ 90 w 596"/>
              <a:gd name="T53" fmla="*/ 122 h 532"/>
              <a:gd name="T54" fmla="*/ 46 w 596"/>
              <a:gd name="T55" fmla="*/ 128 h 532"/>
              <a:gd name="T56" fmla="*/ 0 w 596"/>
              <a:gd name="T57" fmla="*/ 132 h 532"/>
              <a:gd name="T58" fmla="*/ 0 w 596"/>
              <a:gd name="T59" fmla="*/ 132 h 5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96" h="532">
                <a:moveTo>
                  <a:pt x="0" y="132"/>
                </a:moveTo>
                <a:lnTo>
                  <a:pt x="0" y="532"/>
                </a:lnTo>
                <a:lnTo>
                  <a:pt x="0" y="532"/>
                </a:lnTo>
                <a:lnTo>
                  <a:pt x="44" y="530"/>
                </a:lnTo>
                <a:lnTo>
                  <a:pt x="86" y="526"/>
                </a:lnTo>
                <a:lnTo>
                  <a:pt x="128" y="522"/>
                </a:lnTo>
                <a:lnTo>
                  <a:pt x="170" y="514"/>
                </a:lnTo>
                <a:lnTo>
                  <a:pt x="210" y="504"/>
                </a:lnTo>
                <a:lnTo>
                  <a:pt x="250" y="494"/>
                </a:lnTo>
                <a:lnTo>
                  <a:pt x="290" y="480"/>
                </a:lnTo>
                <a:lnTo>
                  <a:pt x="328" y="464"/>
                </a:lnTo>
                <a:lnTo>
                  <a:pt x="366" y="448"/>
                </a:lnTo>
                <a:lnTo>
                  <a:pt x="402" y="430"/>
                </a:lnTo>
                <a:lnTo>
                  <a:pt x="438" y="408"/>
                </a:lnTo>
                <a:lnTo>
                  <a:pt x="472" y="386"/>
                </a:lnTo>
                <a:lnTo>
                  <a:pt x="504" y="364"/>
                </a:lnTo>
                <a:lnTo>
                  <a:pt x="536" y="338"/>
                </a:lnTo>
                <a:lnTo>
                  <a:pt x="568" y="312"/>
                </a:lnTo>
                <a:lnTo>
                  <a:pt x="596" y="284"/>
                </a:lnTo>
                <a:lnTo>
                  <a:pt x="314" y="0"/>
                </a:lnTo>
                <a:lnTo>
                  <a:pt x="314" y="0"/>
                </a:lnTo>
                <a:lnTo>
                  <a:pt x="282" y="30"/>
                </a:lnTo>
                <a:lnTo>
                  <a:pt x="248" y="56"/>
                </a:lnTo>
                <a:lnTo>
                  <a:pt x="212" y="78"/>
                </a:lnTo>
                <a:lnTo>
                  <a:pt x="172" y="96"/>
                </a:lnTo>
                <a:lnTo>
                  <a:pt x="132" y="112"/>
                </a:lnTo>
                <a:lnTo>
                  <a:pt x="90" y="122"/>
                </a:lnTo>
                <a:lnTo>
                  <a:pt x="46" y="128"/>
                </a:lnTo>
                <a:lnTo>
                  <a:pt x="0" y="132"/>
                </a:lnTo>
                <a:lnTo>
                  <a:pt x="0" y="132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Freeform 11"/>
          <p:cNvSpPr>
            <a:spLocks/>
          </p:cNvSpPr>
          <p:nvPr/>
        </p:nvSpPr>
        <p:spPr bwMode="auto">
          <a:xfrm>
            <a:off x="5106067" y="3081766"/>
            <a:ext cx="515508" cy="460152"/>
          </a:xfrm>
          <a:custGeom>
            <a:avLst/>
            <a:gdLst>
              <a:gd name="T0" fmla="*/ 282 w 596"/>
              <a:gd name="T1" fmla="*/ 0 h 532"/>
              <a:gd name="T2" fmla="*/ 0 w 596"/>
              <a:gd name="T3" fmla="*/ 284 h 532"/>
              <a:gd name="T4" fmla="*/ 0 w 596"/>
              <a:gd name="T5" fmla="*/ 284 h 532"/>
              <a:gd name="T6" fmla="*/ 28 w 596"/>
              <a:gd name="T7" fmla="*/ 312 h 532"/>
              <a:gd name="T8" fmla="*/ 60 w 596"/>
              <a:gd name="T9" fmla="*/ 338 h 532"/>
              <a:gd name="T10" fmla="*/ 92 w 596"/>
              <a:gd name="T11" fmla="*/ 364 h 532"/>
              <a:gd name="T12" fmla="*/ 124 w 596"/>
              <a:gd name="T13" fmla="*/ 386 h 532"/>
              <a:gd name="T14" fmla="*/ 158 w 596"/>
              <a:gd name="T15" fmla="*/ 408 h 532"/>
              <a:gd name="T16" fmla="*/ 194 w 596"/>
              <a:gd name="T17" fmla="*/ 430 h 532"/>
              <a:gd name="T18" fmla="*/ 230 w 596"/>
              <a:gd name="T19" fmla="*/ 448 h 532"/>
              <a:gd name="T20" fmla="*/ 268 w 596"/>
              <a:gd name="T21" fmla="*/ 464 h 532"/>
              <a:gd name="T22" fmla="*/ 306 w 596"/>
              <a:gd name="T23" fmla="*/ 480 h 532"/>
              <a:gd name="T24" fmla="*/ 346 w 596"/>
              <a:gd name="T25" fmla="*/ 494 h 532"/>
              <a:gd name="T26" fmla="*/ 386 w 596"/>
              <a:gd name="T27" fmla="*/ 504 h 532"/>
              <a:gd name="T28" fmla="*/ 426 w 596"/>
              <a:gd name="T29" fmla="*/ 514 h 532"/>
              <a:gd name="T30" fmla="*/ 468 w 596"/>
              <a:gd name="T31" fmla="*/ 522 h 532"/>
              <a:gd name="T32" fmla="*/ 510 w 596"/>
              <a:gd name="T33" fmla="*/ 526 h 532"/>
              <a:gd name="T34" fmla="*/ 552 w 596"/>
              <a:gd name="T35" fmla="*/ 530 h 532"/>
              <a:gd name="T36" fmla="*/ 596 w 596"/>
              <a:gd name="T37" fmla="*/ 532 h 532"/>
              <a:gd name="T38" fmla="*/ 596 w 596"/>
              <a:gd name="T39" fmla="*/ 132 h 532"/>
              <a:gd name="T40" fmla="*/ 596 w 596"/>
              <a:gd name="T41" fmla="*/ 132 h 532"/>
              <a:gd name="T42" fmla="*/ 550 w 596"/>
              <a:gd name="T43" fmla="*/ 128 h 532"/>
              <a:gd name="T44" fmla="*/ 506 w 596"/>
              <a:gd name="T45" fmla="*/ 122 h 532"/>
              <a:gd name="T46" fmla="*/ 464 w 596"/>
              <a:gd name="T47" fmla="*/ 112 h 532"/>
              <a:gd name="T48" fmla="*/ 424 w 596"/>
              <a:gd name="T49" fmla="*/ 96 h 532"/>
              <a:gd name="T50" fmla="*/ 384 w 596"/>
              <a:gd name="T51" fmla="*/ 78 h 532"/>
              <a:gd name="T52" fmla="*/ 348 w 596"/>
              <a:gd name="T53" fmla="*/ 56 h 532"/>
              <a:gd name="T54" fmla="*/ 314 w 596"/>
              <a:gd name="T55" fmla="*/ 30 h 532"/>
              <a:gd name="T56" fmla="*/ 282 w 596"/>
              <a:gd name="T57" fmla="*/ 0 h 532"/>
              <a:gd name="T58" fmla="*/ 282 w 596"/>
              <a:gd name="T59" fmla="*/ 0 h 5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96" h="532">
                <a:moveTo>
                  <a:pt x="282" y="0"/>
                </a:moveTo>
                <a:lnTo>
                  <a:pt x="0" y="284"/>
                </a:lnTo>
                <a:lnTo>
                  <a:pt x="0" y="284"/>
                </a:lnTo>
                <a:lnTo>
                  <a:pt x="28" y="312"/>
                </a:lnTo>
                <a:lnTo>
                  <a:pt x="60" y="338"/>
                </a:lnTo>
                <a:lnTo>
                  <a:pt x="92" y="364"/>
                </a:lnTo>
                <a:lnTo>
                  <a:pt x="124" y="386"/>
                </a:lnTo>
                <a:lnTo>
                  <a:pt x="158" y="408"/>
                </a:lnTo>
                <a:lnTo>
                  <a:pt x="194" y="430"/>
                </a:lnTo>
                <a:lnTo>
                  <a:pt x="230" y="448"/>
                </a:lnTo>
                <a:lnTo>
                  <a:pt x="268" y="464"/>
                </a:lnTo>
                <a:lnTo>
                  <a:pt x="306" y="480"/>
                </a:lnTo>
                <a:lnTo>
                  <a:pt x="346" y="494"/>
                </a:lnTo>
                <a:lnTo>
                  <a:pt x="386" y="504"/>
                </a:lnTo>
                <a:lnTo>
                  <a:pt x="426" y="514"/>
                </a:lnTo>
                <a:lnTo>
                  <a:pt x="468" y="522"/>
                </a:lnTo>
                <a:lnTo>
                  <a:pt x="510" y="526"/>
                </a:lnTo>
                <a:lnTo>
                  <a:pt x="552" y="530"/>
                </a:lnTo>
                <a:lnTo>
                  <a:pt x="596" y="532"/>
                </a:lnTo>
                <a:lnTo>
                  <a:pt x="596" y="132"/>
                </a:lnTo>
                <a:lnTo>
                  <a:pt x="596" y="132"/>
                </a:lnTo>
                <a:lnTo>
                  <a:pt x="550" y="128"/>
                </a:lnTo>
                <a:lnTo>
                  <a:pt x="506" y="122"/>
                </a:lnTo>
                <a:lnTo>
                  <a:pt x="464" y="112"/>
                </a:lnTo>
                <a:lnTo>
                  <a:pt x="424" y="96"/>
                </a:lnTo>
                <a:lnTo>
                  <a:pt x="384" y="78"/>
                </a:lnTo>
                <a:lnTo>
                  <a:pt x="348" y="56"/>
                </a:lnTo>
                <a:lnTo>
                  <a:pt x="314" y="30"/>
                </a:lnTo>
                <a:lnTo>
                  <a:pt x="282" y="0"/>
                </a:lnTo>
                <a:lnTo>
                  <a:pt x="282" y="0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reeform 12"/>
          <p:cNvSpPr>
            <a:spLocks/>
          </p:cNvSpPr>
          <p:nvPr/>
        </p:nvSpPr>
        <p:spPr bwMode="auto">
          <a:xfrm>
            <a:off x="4891560" y="2294665"/>
            <a:ext cx="458422" cy="517238"/>
          </a:xfrm>
          <a:custGeom>
            <a:avLst/>
            <a:gdLst>
              <a:gd name="T0" fmla="*/ 530 w 530"/>
              <a:gd name="T1" fmla="*/ 284 h 598"/>
              <a:gd name="T2" fmla="*/ 248 w 530"/>
              <a:gd name="T3" fmla="*/ 0 h 598"/>
              <a:gd name="T4" fmla="*/ 248 w 530"/>
              <a:gd name="T5" fmla="*/ 0 h 598"/>
              <a:gd name="T6" fmla="*/ 220 w 530"/>
              <a:gd name="T7" fmla="*/ 30 h 598"/>
              <a:gd name="T8" fmla="*/ 192 w 530"/>
              <a:gd name="T9" fmla="*/ 60 h 598"/>
              <a:gd name="T10" fmla="*/ 168 w 530"/>
              <a:gd name="T11" fmla="*/ 92 h 598"/>
              <a:gd name="T12" fmla="*/ 144 w 530"/>
              <a:gd name="T13" fmla="*/ 126 h 598"/>
              <a:gd name="T14" fmla="*/ 122 w 530"/>
              <a:gd name="T15" fmla="*/ 160 h 598"/>
              <a:gd name="T16" fmla="*/ 102 w 530"/>
              <a:gd name="T17" fmla="*/ 194 h 598"/>
              <a:gd name="T18" fmla="*/ 84 w 530"/>
              <a:gd name="T19" fmla="*/ 232 h 598"/>
              <a:gd name="T20" fmla="*/ 66 w 530"/>
              <a:gd name="T21" fmla="*/ 268 h 598"/>
              <a:gd name="T22" fmla="*/ 52 w 530"/>
              <a:gd name="T23" fmla="*/ 306 h 598"/>
              <a:gd name="T24" fmla="*/ 38 w 530"/>
              <a:gd name="T25" fmla="*/ 346 h 598"/>
              <a:gd name="T26" fmla="*/ 26 w 530"/>
              <a:gd name="T27" fmla="*/ 386 h 598"/>
              <a:gd name="T28" fmla="*/ 18 w 530"/>
              <a:gd name="T29" fmla="*/ 426 h 598"/>
              <a:gd name="T30" fmla="*/ 10 w 530"/>
              <a:gd name="T31" fmla="*/ 468 h 598"/>
              <a:gd name="T32" fmla="*/ 4 w 530"/>
              <a:gd name="T33" fmla="*/ 510 h 598"/>
              <a:gd name="T34" fmla="*/ 2 w 530"/>
              <a:gd name="T35" fmla="*/ 554 h 598"/>
              <a:gd name="T36" fmla="*/ 0 w 530"/>
              <a:gd name="T37" fmla="*/ 598 h 598"/>
              <a:gd name="T38" fmla="*/ 400 w 530"/>
              <a:gd name="T39" fmla="*/ 598 h 598"/>
              <a:gd name="T40" fmla="*/ 400 w 530"/>
              <a:gd name="T41" fmla="*/ 598 h 598"/>
              <a:gd name="T42" fmla="*/ 402 w 530"/>
              <a:gd name="T43" fmla="*/ 552 h 598"/>
              <a:gd name="T44" fmla="*/ 410 w 530"/>
              <a:gd name="T45" fmla="*/ 508 h 598"/>
              <a:gd name="T46" fmla="*/ 420 w 530"/>
              <a:gd name="T47" fmla="*/ 466 h 598"/>
              <a:gd name="T48" fmla="*/ 434 w 530"/>
              <a:gd name="T49" fmla="*/ 424 h 598"/>
              <a:gd name="T50" fmla="*/ 454 w 530"/>
              <a:gd name="T51" fmla="*/ 386 h 598"/>
              <a:gd name="T52" fmla="*/ 476 w 530"/>
              <a:gd name="T53" fmla="*/ 348 h 598"/>
              <a:gd name="T54" fmla="*/ 502 w 530"/>
              <a:gd name="T55" fmla="*/ 314 h 598"/>
              <a:gd name="T56" fmla="*/ 530 w 530"/>
              <a:gd name="T57" fmla="*/ 284 h 598"/>
              <a:gd name="T58" fmla="*/ 530 w 530"/>
              <a:gd name="T59" fmla="*/ 284 h 5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30" h="598">
                <a:moveTo>
                  <a:pt x="530" y="284"/>
                </a:moveTo>
                <a:lnTo>
                  <a:pt x="248" y="0"/>
                </a:lnTo>
                <a:lnTo>
                  <a:pt x="248" y="0"/>
                </a:lnTo>
                <a:lnTo>
                  <a:pt x="220" y="30"/>
                </a:lnTo>
                <a:lnTo>
                  <a:pt x="192" y="60"/>
                </a:lnTo>
                <a:lnTo>
                  <a:pt x="168" y="92"/>
                </a:lnTo>
                <a:lnTo>
                  <a:pt x="144" y="126"/>
                </a:lnTo>
                <a:lnTo>
                  <a:pt x="122" y="160"/>
                </a:lnTo>
                <a:lnTo>
                  <a:pt x="102" y="194"/>
                </a:lnTo>
                <a:lnTo>
                  <a:pt x="84" y="232"/>
                </a:lnTo>
                <a:lnTo>
                  <a:pt x="66" y="268"/>
                </a:lnTo>
                <a:lnTo>
                  <a:pt x="52" y="306"/>
                </a:lnTo>
                <a:lnTo>
                  <a:pt x="38" y="346"/>
                </a:lnTo>
                <a:lnTo>
                  <a:pt x="26" y="386"/>
                </a:lnTo>
                <a:lnTo>
                  <a:pt x="18" y="426"/>
                </a:lnTo>
                <a:lnTo>
                  <a:pt x="10" y="468"/>
                </a:lnTo>
                <a:lnTo>
                  <a:pt x="4" y="510"/>
                </a:lnTo>
                <a:lnTo>
                  <a:pt x="2" y="554"/>
                </a:lnTo>
                <a:lnTo>
                  <a:pt x="0" y="598"/>
                </a:lnTo>
                <a:lnTo>
                  <a:pt x="400" y="598"/>
                </a:lnTo>
                <a:lnTo>
                  <a:pt x="400" y="598"/>
                </a:lnTo>
                <a:lnTo>
                  <a:pt x="402" y="552"/>
                </a:lnTo>
                <a:lnTo>
                  <a:pt x="410" y="508"/>
                </a:lnTo>
                <a:lnTo>
                  <a:pt x="420" y="466"/>
                </a:lnTo>
                <a:lnTo>
                  <a:pt x="434" y="424"/>
                </a:lnTo>
                <a:lnTo>
                  <a:pt x="454" y="386"/>
                </a:lnTo>
                <a:lnTo>
                  <a:pt x="476" y="348"/>
                </a:lnTo>
                <a:lnTo>
                  <a:pt x="502" y="314"/>
                </a:lnTo>
                <a:lnTo>
                  <a:pt x="530" y="284"/>
                </a:lnTo>
                <a:lnTo>
                  <a:pt x="530" y="284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Freeform 13"/>
          <p:cNvSpPr>
            <a:spLocks/>
          </p:cNvSpPr>
          <p:nvPr/>
        </p:nvSpPr>
        <p:spPr bwMode="auto">
          <a:xfrm>
            <a:off x="4891560" y="2811903"/>
            <a:ext cx="458422" cy="515508"/>
          </a:xfrm>
          <a:custGeom>
            <a:avLst/>
            <a:gdLst>
              <a:gd name="T0" fmla="*/ 400 w 530"/>
              <a:gd name="T1" fmla="*/ 0 h 596"/>
              <a:gd name="T2" fmla="*/ 0 w 530"/>
              <a:gd name="T3" fmla="*/ 0 h 596"/>
              <a:gd name="T4" fmla="*/ 0 w 530"/>
              <a:gd name="T5" fmla="*/ 0 h 596"/>
              <a:gd name="T6" fmla="*/ 2 w 530"/>
              <a:gd name="T7" fmla="*/ 42 h 596"/>
              <a:gd name="T8" fmla="*/ 4 w 530"/>
              <a:gd name="T9" fmla="*/ 86 h 596"/>
              <a:gd name="T10" fmla="*/ 10 w 530"/>
              <a:gd name="T11" fmla="*/ 128 h 596"/>
              <a:gd name="T12" fmla="*/ 18 w 530"/>
              <a:gd name="T13" fmla="*/ 170 h 596"/>
              <a:gd name="T14" fmla="*/ 26 w 530"/>
              <a:gd name="T15" fmla="*/ 210 h 596"/>
              <a:gd name="T16" fmla="*/ 38 w 530"/>
              <a:gd name="T17" fmla="*/ 250 h 596"/>
              <a:gd name="T18" fmla="*/ 52 w 530"/>
              <a:gd name="T19" fmla="*/ 290 h 596"/>
              <a:gd name="T20" fmla="*/ 66 w 530"/>
              <a:gd name="T21" fmla="*/ 328 h 596"/>
              <a:gd name="T22" fmla="*/ 84 w 530"/>
              <a:gd name="T23" fmla="*/ 364 h 596"/>
              <a:gd name="T24" fmla="*/ 102 w 530"/>
              <a:gd name="T25" fmla="*/ 402 h 596"/>
              <a:gd name="T26" fmla="*/ 122 w 530"/>
              <a:gd name="T27" fmla="*/ 436 h 596"/>
              <a:gd name="T28" fmla="*/ 144 w 530"/>
              <a:gd name="T29" fmla="*/ 470 h 596"/>
              <a:gd name="T30" fmla="*/ 168 w 530"/>
              <a:gd name="T31" fmla="*/ 504 h 596"/>
              <a:gd name="T32" fmla="*/ 192 w 530"/>
              <a:gd name="T33" fmla="*/ 536 h 596"/>
              <a:gd name="T34" fmla="*/ 220 w 530"/>
              <a:gd name="T35" fmla="*/ 566 h 596"/>
              <a:gd name="T36" fmla="*/ 248 w 530"/>
              <a:gd name="T37" fmla="*/ 596 h 596"/>
              <a:gd name="T38" fmla="*/ 530 w 530"/>
              <a:gd name="T39" fmla="*/ 312 h 596"/>
              <a:gd name="T40" fmla="*/ 530 w 530"/>
              <a:gd name="T41" fmla="*/ 312 h 596"/>
              <a:gd name="T42" fmla="*/ 502 w 530"/>
              <a:gd name="T43" fmla="*/ 282 h 596"/>
              <a:gd name="T44" fmla="*/ 476 w 530"/>
              <a:gd name="T45" fmla="*/ 248 h 596"/>
              <a:gd name="T46" fmla="*/ 454 w 530"/>
              <a:gd name="T47" fmla="*/ 210 h 596"/>
              <a:gd name="T48" fmla="*/ 434 w 530"/>
              <a:gd name="T49" fmla="*/ 172 h 596"/>
              <a:gd name="T50" fmla="*/ 420 w 530"/>
              <a:gd name="T51" fmla="*/ 130 h 596"/>
              <a:gd name="T52" fmla="*/ 410 w 530"/>
              <a:gd name="T53" fmla="*/ 88 h 596"/>
              <a:gd name="T54" fmla="*/ 402 w 530"/>
              <a:gd name="T55" fmla="*/ 44 h 596"/>
              <a:gd name="T56" fmla="*/ 400 w 530"/>
              <a:gd name="T57" fmla="*/ 0 h 596"/>
              <a:gd name="T58" fmla="*/ 400 w 530"/>
              <a:gd name="T59" fmla="*/ 0 h 5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30" h="596">
                <a:moveTo>
                  <a:pt x="400" y="0"/>
                </a:moveTo>
                <a:lnTo>
                  <a:pt x="0" y="0"/>
                </a:lnTo>
                <a:lnTo>
                  <a:pt x="0" y="0"/>
                </a:lnTo>
                <a:lnTo>
                  <a:pt x="2" y="42"/>
                </a:lnTo>
                <a:lnTo>
                  <a:pt x="4" y="86"/>
                </a:lnTo>
                <a:lnTo>
                  <a:pt x="10" y="128"/>
                </a:lnTo>
                <a:lnTo>
                  <a:pt x="18" y="170"/>
                </a:lnTo>
                <a:lnTo>
                  <a:pt x="26" y="210"/>
                </a:lnTo>
                <a:lnTo>
                  <a:pt x="38" y="250"/>
                </a:lnTo>
                <a:lnTo>
                  <a:pt x="52" y="290"/>
                </a:lnTo>
                <a:lnTo>
                  <a:pt x="66" y="328"/>
                </a:lnTo>
                <a:lnTo>
                  <a:pt x="84" y="364"/>
                </a:lnTo>
                <a:lnTo>
                  <a:pt x="102" y="402"/>
                </a:lnTo>
                <a:lnTo>
                  <a:pt x="122" y="436"/>
                </a:lnTo>
                <a:lnTo>
                  <a:pt x="144" y="470"/>
                </a:lnTo>
                <a:lnTo>
                  <a:pt x="168" y="504"/>
                </a:lnTo>
                <a:lnTo>
                  <a:pt x="192" y="536"/>
                </a:lnTo>
                <a:lnTo>
                  <a:pt x="220" y="566"/>
                </a:lnTo>
                <a:lnTo>
                  <a:pt x="248" y="596"/>
                </a:lnTo>
                <a:lnTo>
                  <a:pt x="530" y="312"/>
                </a:lnTo>
                <a:lnTo>
                  <a:pt x="530" y="312"/>
                </a:lnTo>
                <a:lnTo>
                  <a:pt x="502" y="282"/>
                </a:lnTo>
                <a:lnTo>
                  <a:pt x="476" y="248"/>
                </a:lnTo>
                <a:lnTo>
                  <a:pt x="454" y="210"/>
                </a:lnTo>
                <a:lnTo>
                  <a:pt x="434" y="172"/>
                </a:lnTo>
                <a:lnTo>
                  <a:pt x="420" y="130"/>
                </a:lnTo>
                <a:lnTo>
                  <a:pt x="410" y="88"/>
                </a:lnTo>
                <a:lnTo>
                  <a:pt x="402" y="44"/>
                </a:lnTo>
                <a:lnTo>
                  <a:pt x="400" y="0"/>
                </a:lnTo>
                <a:lnTo>
                  <a:pt x="400" y="0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Freeform 14"/>
          <p:cNvSpPr>
            <a:spLocks/>
          </p:cNvSpPr>
          <p:nvPr/>
        </p:nvSpPr>
        <p:spPr bwMode="auto">
          <a:xfrm>
            <a:off x="5237539" y="2427867"/>
            <a:ext cx="768073" cy="768073"/>
          </a:xfrm>
          <a:custGeom>
            <a:avLst/>
            <a:gdLst>
              <a:gd name="T0" fmla="*/ 444 w 888"/>
              <a:gd name="T1" fmla="*/ 0 h 888"/>
              <a:gd name="T2" fmla="*/ 354 w 888"/>
              <a:gd name="T3" fmla="*/ 8 h 888"/>
              <a:gd name="T4" fmla="*/ 272 w 888"/>
              <a:gd name="T5" fmla="*/ 34 h 888"/>
              <a:gd name="T6" fmla="*/ 196 w 888"/>
              <a:gd name="T7" fmla="*/ 74 h 888"/>
              <a:gd name="T8" fmla="*/ 130 w 888"/>
              <a:gd name="T9" fmla="*/ 130 h 888"/>
              <a:gd name="T10" fmla="*/ 102 w 888"/>
              <a:gd name="T11" fmla="*/ 160 h 888"/>
              <a:gd name="T12" fmla="*/ 54 w 888"/>
              <a:gd name="T13" fmla="*/ 232 h 888"/>
              <a:gd name="T14" fmla="*/ 20 w 888"/>
              <a:gd name="T15" fmla="*/ 312 h 888"/>
              <a:gd name="T16" fmla="*/ 2 w 888"/>
              <a:gd name="T17" fmla="*/ 398 h 888"/>
              <a:gd name="T18" fmla="*/ 0 w 888"/>
              <a:gd name="T19" fmla="*/ 444 h 888"/>
              <a:gd name="T20" fmla="*/ 10 w 888"/>
              <a:gd name="T21" fmla="*/ 532 h 888"/>
              <a:gd name="T22" fmla="*/ 34 w 888"/>
              <a:gd name="T23" fmla="*/ 616 h 888"/>
              <a:gd name="T24" fmla="*/ 76 w 888"/>
              <a:gd name="T25" fmla="*/ 692 h 888"/>
              <a:gd name="T26" fmla="*/ 130 w 888"/>
              <a:gd name="T27" fmla="*/ 756 h 888"/>
              <a:gd name="T28" fmla="*/ 162 w 888"/>
              <a:gd name="T29" fmla="*/ 786 h 888"/>
              <a:gd name="T30" fmla="*/ 232 w 888"/>
              <a:gd name="T31" fmla="*/ 834 h 888"/>
              <a:gd name="T32" fmla="*/ 312 w 888"/>
              <a:gd name="T33" fmla="*/ 868 h 888"/>
              <a:gd name="T34" fmla="*/ 398 w 888"/>
              <a:gd name="T35" fmla="*/ 884 h 888"/>
              <a:gd name="T36" fmla="*/ 444 w 888"/>
              <a:gd name="T37" fmla="*/ 888 h 888"/>
              <a:gd name="T38" fmla="*/ 534 w 888"/>
              <a:gd name="T39" fmla="*/ 878 h 888"/>
              <a:gd name="T40" fmla="*/ 616 w 888"/>
              <a:gd name="T41" fmla="*/ 852 h 888"/>
              <a:gd name="T42" fmla="*/ 692 w 888"/>
              <a:gd name="T43" fmla="*/ 812 h 888"/>
              <a:gd name="T44" fmla="*/ 758 w 888"/>
              <a:gd name="T45" fmla="*/ 756 h 888"/>
              <a:gd name="T46" fmla="*/ 786 w 888"/>
              <a:gd name="T47" fmla="*/ 726 h 888"/>
              <a:gd name="T48" fmla="*/ 834 w 888"/>
              <a:gd name="T49" fmla="*/ 654 h 888"/>
              <a:gd name="T50" fmla="*/ 868 w 888"/>
              <a:gd name="T51" fmla="*/ 574 h 888"/>
              <a:gd name="T52" fmla="*/ 886 w 888"/>
              <a:gd name="T53" fmla="*/ 488 h 888"/>
              <a:gd name="T54" fmla="*/ 888 w 888"/>
              <a:gd name="T55" fmla="*/ 444 h 888"/>
              <a:gd name="T56" fmla="*/ 878 w 888"/>
              <a:gd name="T57" fmla="*/ 354 h 888"/>
              <a:gd name="T58" fmla="*/ 854 w 888"/>
              <a:gd name="T59" fmla="*/ 270 h 888"/>
              <a:gd name="T60" fmla="*/ 812 w 888"/>
              <a:gd name="T61" fmla="*/ 194 h 888"/>
              <a:gd name="T62" fmla="*/ 758 w 888"/>
              <a:gd name="T63" fmla="*/ 130 h 888"/>
              <a:gd name="T64" fmla="*/ 726 w 888"/>
              <a:gd name="T65" fmla="*/ 100 h 888"/>
              <a:gd name="T66" fmla="*/ 656 w 888"/>
              <a:gd name="T67" fmla="*/ 52 h 888"/>
              <a:gd name="T68" fmla="*/ 576 w 888"/>
              <a:gd name="T69" fmla="*/ 18 h 888"/>
              <a:gd name="T70" fmla="*/ 490 w 888"/>
              <a:gd name="T71" fmla="*/ 2 h 888"/>
              <a:gd name="T72" fmla="*/ 444 w 888"/>
              <a:gd name="T73" fmla="*/ 0 h 8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88" h="888">
                <a:moveTo>
                  <a:pt x="444" y="0"/>
                </a:moveTo>
                <a:lnTo>
                  <a:pt x="444" y="0"/>
                </a:lnTo>
                <a:lnTo>
                  <a:pt x="398" y="2"/>
                </a:lnTo>
                <a:lnTo>
                  <a:pt x="354" y="8"/>
                </a:lnTo>
                <a:lnTo>
                  <a:pt x="312" y="18"/>
                </a:lnTo>
                <a:lnTo>
                  <a:pt x="272" y="34"/>
                </a:lnTo>
                <a:lnTo>
                  <a:pt x="232" y="52"/>
                </a:lnTo>
                <a:lnTo>
                  <a:pt x="196" y="74"/>
                </a:lnTo>
                <a:lnTo>
                  <a:pt x="162" y="100"/>
                </a:lnTo>
                <a:lnTo>
                  <a:pt x="130" y="130"/>
                </a:lnTo>
                <a:lnTo>
                  <a:pt x="130" y="130"/>
                </a:lnTo>
                <a:lnTo>
                  <a:pt x="102" y="160"/>
                </a:lnTo>
                <a:lnTo>
                  <a:pt x="76" y="194"/>
                </a:lnTo>
                <a:lnTo>
                  <a:pt x="54" y="232"/>
                </a:lnTo>
                <a:lnTo>
                  <a:pt x="34" y="270"/>
                </a:lnTo>
                <a:lnTo>
                  <a:pt x="20" y="312"/>
                </a:lnTo>
                <a:lnTo>
                  <a:pt x="10" y="354"/>
                </a:lnTo>
                <a:lnTo>
                  <a:pt x="2" y="398"/>
                </a:lnTo>
                <a:lnTo>
                  <a:pt x="0" y="444"/>
                </a:lnTo>
                <a:lnTo>
                  <a:pt x="0" y="444"/>
                </a:lnTo>
                <a:lnTo>
                  <a:pt x="2" y="488"/>
                </a:lnTo>
                <a:lnTo>
                  <a:pt x="10" y="532"/>
                </a:lnTo>
                <a:lnTo>
                  <a:pt x="20" y="574"/>
                </a:lnTo>
                <a:lnTo>
                  <a:pt x="34" y="616"/>
                </a:lnTo>
                <a:lnTo>
                  <a:pt x="54" y="654"/>
                </a:lnTo>
                <a:lnTo>
                  <a:pt x="76" y="692"/>
                </a:lnTo>
                <a:lnTo>
                  <a:pt x="102" y="726"/>
                </a:lnTo>
                <a:lnTo>
                  <a:pt x="130" y="756"/>
                </a:lnTo>
                <a:lnTo>
                  <a:pt x="130" y="756"/>
                </a:lnTo>
                <a:lnTo>
                  <a:pt x="162" y="786"/>
                </a:lnTo>
                <a:lnTo>
                  <a:pt x="196" y="812"/>
                </a:lnTo>
                <a:lnTo>
                  <a:pt x="232" y="834"/>
                </a:lnTo>
                <a:lnTo>
                  <a:pt x="272" y="852"/>
                </a:lnTo>
                <a:lnTo>
                  <a:pt x="312" y="868"/>
                </a:lnTo>
                <a:lnTo>
                  <a:pt x="354" y="878"/>
                </a:lnTo>
                <a:lnTo>
                  <a:pt x="398" y="884"/>
                </a:lnTo>
                <a:lnTo>
                  <a:pt x="444" y="888"/>
                </a:lnTo>
                <a:lnTo>
                  <a:pt x="444" y="888"/>
                </a:lnTo>
                <a:lnTo>
                  <a:pt x="490" y="884"/>
                </a:lnTo>
                <a:lnTo>
                  <a:pt x="534" y="878"/>
                </a:lnTo>
                <a:lnTo>
                  <a:pt x="576" y="868"/>
                </a:lnTo>
                <a:lnTo>
                  <a:pt x="616" y="852"/>
                </a:lnTo>
                <a:lnTo>
                  <a:pt x="656" y="834"/>
                </a:lnTo>
                <a:lnTo>
                  <a:pt x="692" y="812"/>
                </a:lnTo>
                <a:lnTo>
                  <a:pt x="726" y="786"/>
                </a:lnTo>
                <a:lnTo>
                  <a:pt x="758" y="756"/>
                </a:lnTo>
                <a:lnTo>
                  <a:pt x="758" y="756"/>
                </a:lnTo>
                <a:lnTo>
                  <a:pt x="786" y="726"/>
                </a:lnTo>
                <a:lnTo>
                  <a:pt x="812" y="692"/>
                </a:lnTo>
                <a:lnTo>
                  <a:pt x="834" y="654"/>
                </a:lnTo>
                <a:lnTo>
                  <a:pt x="854" y="616"/>
                </a:lnTo>
                <a:lnTo>
                  <a:pt x="868" y="574"/>
                </a:lnTo>
                <a:lnTo>
                  <a:pt x="878" y="532"/>
                </a:lnTo>
                <a:lnTo>
                  <a:pt x="886" y="488"/>
                </a:lnTo>
                <a:lnTo>
                  <a:pt x="888" y="444"/>
                </a:lnTo>
                <a:lnTo>
                  <a:pt x="888" y="444"/>
                </a:lnTo>
                <a:lnTo>
                  <a:pt x="886" y="398"/>
                </a:lnTo>
                <a:lnTo>
                  <a:pt x="878" y="354"/>
                </a:lnTo>
                <a:lnTo>
                  <a:pt x="868" y="312"/>
                </a:lnTo>
                <a:lnTo>
                  <a:pt x="854" y="270"/>
                </a:lnTo>
                <a:lnTo>
                  <a:pt x="834" y="232"/>
                </a:lnTo>
                <a:lnTo>
                  <a:pt x="812" y="194"/>
                </a:lnTo>
                <a:lnTo>
                  <a:pt x="786" y="160"/>
                </a:lnTo>
                <a:lnTo>
                  <a:pt x="758" y="130"/>
                </a:lnTo>
                <a:lnTo>
                  <a:pt x="758" y="130"/>
                </a:lnTo>
                <a:lnTo>
                  <a:pt x="726" y="100"/>
                </a:lnTo>
                <a:lnTo>
                  <a:pt x="692" y="74"/>
                </a:lnTo>
                <a:lnTo>
                  <a:pt x="656" y="52"/>
                </a:lnTo>
                <a:lnTo>
                  <a:pt x="616" y="34"/>
                </a:lnTo>
                <a:lnTo>
                  <a:pt x="576" y="18"/>
                </a:lnTo>
                <a:lnTo>
                  <a:pt x="534" y="8"/>
                </a:lnTo>
                <a:lnTo>
                  <a:pt x="490" y="2"/>
                </a:lnTo>
                <a:lnTo>
                  <a:pt x="444" y="0"/>
                </a:lnTo>
                <a:lnTo>
                  <a:pt x="444" y="0"/>
                </a:lnTo>
                <a:close/>
              </a:path>
            </a:pathLst>
          </a:custGeom>
          <a:noFill/>
          <a:ln w="28575">
            <a:solidFill>
              <a:srgbClr val="0D65AC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Oval 58"/>
          <p:cNvSpPr/>
          <p:nvPr/>
        </p:nvSpPr>
        <p:spPr>
          <a:xfrm>
            <a:off x="4891560" y="2081888"/>
            <a:ext cx="1471841" cy="1471841"/>
          </a:xfrm>
          <a:prstGeom prst="ellipse">
            <a:avLst/>
          </a:prstGeom>
          <a:noFill/>
          <a:ln>
            <a:solidFill>
              <a:srgbClr val="0D65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1" name="Freeform 5"/>
          <p:cNvSpPr>
            <a:spLocks noEditPoints="1"/>
          </p:cNvSpPr>
          <p:nvPr/>
        </p:nvSpPr>
        <p:spPr bwMode="auto">
          <a:xfrm>
            <a:off x="6935978" y="2012692"/>
            <a:ext cx="1598422" cy="1598422"/>
          </a:xfrm>
          <a:custGeom>
            <a:avLst/>
            <a:gdLst>
              <a:gd name="T0" fmla="*/ 832 w 1848"/>
              <a:gd name="T1" fmla="*/ 1842 h 1848"/>
              <a:gd name="T2" fmla="*/ 654 w 1848"/>
              <a:gd name="T3" fmla="*/ 1808 h 1848"/>
              <a:gd name="T4" fmla="*/ 488 w 1848"/>
              <a:gd name="T5" fmla="*/ 1738 h 1848"/>
              <a:gd name="T6" fmla="*/ 338 w 1848"/>
              <a:gd name="T7" fmla="*/ 1638 h 1848"/>
              <a:gd name="T8" fmla="*/ 238 w 1848"/>
              <a:gd name="T9" fmla="*/ 1542 h 1848"/>
              <a:gd name="T10" fmla="*/ 130 w 1848"/>
              <a:gd name="T11" fmla="*/ 1398 h 1848"/>
              <a:gd name="T12" fmla="*/ 54 w 1848"/>
              <a:gd name="T13" fmla="*/ 1234 h 1848"/>
              <a:gd name="T14" fmla="*/ 10 w 1848"/>
              <a:gd name="T15" fmla="*/ 1060 h 1848"/>
              <a:gd name="T16" fmla="*/ 0 w 1848"/>
              <a:gd name="T17" fmla="*/ 924 h 1848"/>
              <a:gd name="T18" fmla="*/ 18 w 1848"/>
              <a:gd name="T19" fmla="*/ 742 h 1848"/>
              <a:gd name="T20" fmla="*/ 70 w 1848"/>
              <a:gd name="T21" fmla="*/ 570 h 1848"/>
              <a:gd name="T22" fmla="*/ 154 w 1848"/>
              <a:gd name="T23" fmla="*/ 410 h 1848"/>
              <a:gd name="T24" fmla="*/ 270 w 1848"/>
              <a:gd name="T25" fmla="*/ 270 h 1848"/>
              <a:gd name="T26" fmla="*/ 374 w 1848"/>
              <a:gd name="T27" fmla="*/ 180 h 1848"/>
              <a:gd name="T28" fmla="*/ 530 w 1848"/>
              <a:gd name="T29" fmla="*/ 88 h 1848"/>
              <a:gd name="T30" fmla="*/ 698 w 1848"/>
              <a:gd name="T31" fmla="*/ 26 h 1848"/>
              <a:gd name="T32" fmla="*/ 878 w 1848"/>
              <a:gd name="T33" fmla="*/ 0 h 1848"/>
              <a:gd name="T34" fmla="*/ 1016 w 1848"/>
              <a:gd name="T35" fmla="*/ 4 h 1848"/>
              <a:gd name="T36" fmla="*/ 1194 w 1848"/>
              <a:gd name="T37" fmla="*/ 38 h 1848"/>
              <a:gd name="T38" fmla="*/ 1360 w 1848"/>
              <a:gd name="T39" fmla="*/ 108 h 1848"/>
              <a:gd name="T40" fmla="*/ 1510 w 1848"/>
              <a:gd name="T41" fmla="*/ 208 h 1848"/>
              <a:gd name="T42" fmla="*/ 1610 w 1848"/>
              <a:gd name="T43" fmla="*/ 304 h 1848"/>
              <a:gd name="T44" fmla="*/ 1718 w 1848"/>
              <a:gd name="T45" fmla="*/ 448 h 1848"/>
              <a:gd name="T46" fmla="*/ 1794 w 1848"/>
              <a:gd name="T47" fmla="*/ 612 h 1848"/>
              <a:gd name="T48" fmla="*/ 1838 w 1848"/>
              <a:gd name="T49" fmla="*/ 786 h 1848"/>
              <a:gd name="T50" fmla="*/ 1848 w 1848"/>
              <a:gd name="T51" fmla="*/ 924 h 1848"/>
              <a:gd name="T52" fmla="*/ 1830 w 1848"/>
              <a:gd name="T53" fmla="*/ 1104 h 1848"/>
              <a:gd name="T54" fmla="*/ 1778 w 1848"/>
              <a:gd name="T55" fmla="*/ 1276 h 1848"/>
              <a:gd name="T56" fmla="*/ 1694 w 1848"/>
              <a:gd name="T57" fmla="*/ 1436 h 1848"/>
              <a:gd name="T58" fmla="*/ 1578 w 1848"/>
              <a:gd name="T59" fmla="*/ 1576 h 1848"/>
              <a:gd name="T60" fmla="*/ 1474 w 1848"/>
              <a:gd name="T61" fmla="*/ 1666 h 1848"/>
              <a:gd name="T62" fmla="*/ 1318 w 1848"/>
              <a:gd name="T63" fmla="*/ 1758 h 1848"/>
              <a:gd name="T64" fmla="*/ 1150 w 1848"/>
              <a:gd name="T65" fmla="*/ 1820 h 1848"/>
              <a:gd name="T66" fmla="*/ 970 w 1848"/>
              <a:gd name="T67" fmla="*/ 1846 h 1848"/>
              <a:gd name="T68" fmla="*/ 924 w 1848"/>
              <a:gd name="T69" fmla="*/ 560 h 1848"/>
              <a:gd name="T70" fmla="*/ 784 w 1848"/>
              <a:gd name="T71" fmla="*/ 586 h 1848"/>
              <a:gd name="T72" fmla="*/ 666 w 1848"/>
              <a:gd name="T73" fmla="*/ 666 h 1848"/>
              <a:gd name="T74" fmla="*/ 602 w 1848"/>
              <a:gd name="T75" fmla="*/ 752 h 1848"/>
              <a:gd name="T76" fmla="*/ 562 w 1848"/>
              <a:gd name="T77" fmla="*/ 886 h 1848"/>
              <a:gd name="T78" fmla="*/ 568 w 1848"/>
              <a:gd name="T79" fmla="*/ 994 h 1848"/>
              <a:gd name="T80" fmla="*/ 622 w 1848"/>
              <a:gd name="T81" fmla="*/ 1124 h 1848"/>
              <a:gd name="T82" fmla="*/ 694 w 1848"/>
              <a:gd name="T83" fmla="*/ 1204 h 1848"/>
              <a:gd name="T84" fmla="*/ 818 w 1848"/>
              <a:gd name="T85" fmla="*/ 1272 h 1848"/>
              <a:gd name="T86" fmla="*/ 924 w 1848"/>
              <a:gd name="T87" fmla="*/ 1288 h 1848"/>
              <a:gd name="T88" fmla="*/ 1064 w 1848"/>
              <a:gd name="T89" fmla="*/ 1260 h 1848"/>
              <a:gd name="T90" fmla="*/ 1182 w 1848"/>
              <a:gd name="T91" fmla="*/ 1180 h 1848"/>
              <a:gd name="T92" fmla="*/ 1246 w 1848"/>
              <a:gd name="T93" fmla="*/ 1094 h 1848"/>
              <a:gd name="T94" fmla="*/ 1286 w 1848"/>
              <a:gd name="T95" fmla="*/ 960 h 1848"/>
              <a:gd name="T96" fmla="*/ 1282 w 1848"/>
              <a:gd name="T97" fmla="*/ 852 h 1848"/>
              <a:gd name="T98" fmla="*/ 1226 w 1848"/>
              <a:gd name="T99" fmla="*/ 722 h 1848"/>
              <a:gd name="T100" fmla="*/ 1154 w 1848"/>
              <a:gd name="T101" fmla="*/ 642 h 1848"/>
              <a:gd name="T102" fmla="*/ 1030 w 1848"/>
              <a:gd name="T103" fmla="*/ 574 h 1848"/>
              <a:gd name="T104" fmla="*/ 924 w 1848"/>
              <a:gd name="T105" fmla="*/ 560 h 1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848" h="1848">
                <a:moveTo>
                  <a:pt x="924" y="1848"/>
                </a:moveTo>
                <a:lnTo>
                  <a:pt x="924" y="1848"/>
                </a:lnTo>
                <a:lnTo>
                  <a:pt x="878" y="1846"/>
                </a:lnTo>
                <a:lnTo>
                  <a:pt x="832" y="1842"/>
                </a:lnTo>
                <a:lnTo>
                  <a:pt x="788" y="1836"/>
                </a:lnTo>
                <a:lnTo>
                  <a:pt x="742" y="1830"/>
                </a:lnTo>
                <a:lnTo>
                  <a:pt x="698" y="1820"/>
                </a:lnTo>
                <a:lnTo>
                  <a:pt x="654" y="1808"/>
                </a:lnTo>
                <a:lnTo>
                  <a:pt x="612" y="1794"/>
                </a:lnTo>
                <a:lnTo>
                  <a:pt x="570" y="1778"/>
                </a:lnTo>
                <a:lnTo>
                  <a:pt x="530" y="1758"/>
                </a:lnTo>
                <a:lnTo>
                  <a:pt x="488" y="1738"/>
                </a:lnTo>
                <a:lnTo>
                  <a:pt x="450" y="1716"/>
                </a:lnTo>
                <a:lnTo>
                  <a:pt x="412" y="1692"/>
                </a:lnTo>
                <a:lnTo>
                  <a:pt x="374" y="1666"/>
                </a:lnTo>
                <a:lnTo>
                  <a:pt x="338" y="1638"/>
                </a:lnTo>
                <a:lnTo>
                  <a:pt x="304" y="1608"/>
                </a:lnTo>
                <a:lnTo>
                  <a:pt x="270" y="1576"/>
                </a:lnTo>
                <a:lnTo>
                  <a:pt x="270" y="1576"/>
                </a:lnTo>
                <a:lnTo>
                  <a:pt x="238" y="1542"/>
                </a:lnTo>
                <a:lnTo>
                  <a:pt x="208" y="1508"/>
                </a:lnTo>
                <a:lnTo>
                  <a:pt x="180" y="1472"/>
                </a:lnTo>
                <a:lnTo>
                  <a:pt x="154" y="1436"/>
                </a:lnTo>
                <a:lnTo>
                  <a:pt x="130" y="1398"/>
                </a:lnTo>
                <a:lnTo>
                  <a:pt x="108" y="1358"/>
                </a:lnTo>
                <a:lnTo>
                  <a:pt x="88" y="1318"/>
                </a:lnTo>
                <a:lnTo>
                  <a:pt x="70" y="1276"/>
                </a:lnTo>
                <a:lnTo>
                  <a:pt x="54" y="1234"/>
                </a:lnTo>
                <a:lnTo>
                  <a:pt x="40" y="1192"/>
                </a:lnTo>
                <a:lnTo>
                  <a:pt x="28" y="1148"/>
                </a:lnTo>
                <a:lnTo>
                  <a:pt x="18" y="1104"/>
                </a:lnTo>
                <a:lnTo>
                  <a:pt x="10" y="1060"/>
                </a:lnTo>
                <a:lnTo>
                  <a:pt x="4" y="1014"/>
                </a:lnTo>
                <a:lnTo>
                  <a:pt x="2" y="970"/>
                </a:lnTo>
                <a:lnTo>
                  <a:pt x="0" y="924"/>
                </a:lnTo>
                <a:lnTo>
                  <a:pt x="0" y="924"/>
                </a:lnTo>
                <a:lnTo>
                  <a:pt x="2" y="876"/>
                </a:lnTo>
                <a:lnTo>
                  <a:pt x="4" y="832"/>
                </a:lnTo>
                <a:lnTo>
                  <a:pt x="10" y="786"/>
                </a:lnTo>
                <a:lnTo>
                  <a:pt x="18" y="742"/>
                </a:lnTo>
                <a:lnTo>
                  <a:pt x="28" y="698"/>
                </a:lnTo>
                <a:lnTo>
                  <a:pt x="40" y="654"/>
                </a:lnTo>
                <a:lnTo>
                  <a:pt x="54" y="612"/>
                </a:lnTo>
                <a:lnTo>
                  <a:pt x="70" y="570"/>
                </a:lnTo>
                <a:lnTo>
                  <a:pt x="88" y="528"/>
                </a:lnTo>
                <a:lnTo>
                  <a:pt x="108" y="488"/>
                </a:lnTo>
                <a:lnTo>
                  <a:pt x="130" y="448"/>
                </a:lnTo>
                <a:lnTo>
                  <a:pt x="154" y="410"/>
                </a:lnTo>
                <a:lnTo>
                  <a:pt x="180" y="374"/>
                </a:lnTo>
                <a:lnTo>
                  <a:pt x="208" y="338"/>
                </a:lnTo>
                <a:lnTo>
                  <a:pt x="238" y="304"/>
                </a:lnTo>
                <a:lnTo>
                  <a:pt x="270" y="270"/>
                </a:lnTo>
                <a:lnTo>
                  <a:pt x="270" y="270"/>
                </a:lnTo>
                <a:lnTo>
                  <a:pt x="304" y="238"/>
                </a:lnTo>
                <a:lnTo>
                  <a:pt x="338" y="208"/>
                </a:lnTo>
                <a:lnTo>
                  <a:pt x="374" y="180"/>
                </a:lnTo>
                <a:lnTo>
                  <a:pt x="412" y="154"/>
                </a:lnTo>
                <a:lnTo>
                  <a:pt x="450" y="130"/>
                </a:lnTo>
                <a:lnTo>
                  <a:pt x="488" y="108"/>
                </a:lnTo>
                <a:lnTo>
                  <a:pt x="530" y="88"/>
                </a:lnTo>
                <a:lnTo>
                  <a:pt x="570" y="68"/>
                </a:lnTo>
                <a:lnTo>
                  <a:pt x="612" y="52"/>
                </a:lnTo>
                <a:lnTo>
                  <a:pt x="654" y="38"/>
                </a:lnTo>
                <a:lnTo>
                  <a:pt x="698" y="26"/>
                </a:lnTo>
                <a:lnTo>
                  <a:pt x="742" y="16"/>
                </a:lnTo>
                <a:lnTo>
                  <a:pt x="788" y="10"/>
                </a:lnTo>
                <a:lnTo>
                  <a:pt x="832" y="4"/>
                </a:lnTo>
                <a:lnTo>
                  <a:pt x="878" y="0"/>
                </a:lnTo>
                <a:lnTo>
                  <a:pt x="924" y="0"/>
                </a:lnTo>
                <a:lnTo>
                  <a:pt x="924" y="0"/>
                </a:lnTo>
                <a:lnTo>
                  <a:pt x="970" y="0"/>
                </a:lnTo>
                <a:lnTo>
                  <a:pt x="1016" y="4"/>
                </a:lnTo>
                <a:lnTo>
                  <a:pt x="1060" y="10"/>
                </a:lnTo>
                <a:lnTo>
                  <a:pt x="1106" y="16"/>
                </a:lnTo>
                <a:lnTo>
                  <a:pt x="1150" y="26"/>
                </a:lnTo>
                <a:lnTo>
                  <a:pt x="1194" y="38"/>
                </a:lnTo>
                <a:lnTo>
                  <a:pt x="1236" y="52"/>
                </a:lnTo>
                <a:lnTo>
                  <a:pt x="1278" y="68"/>
                </a:lnTo>
                <a:lnTo>
                  <a:pt x="1318" y="88"/>
                </a:lnTo>
                <a:lnTo>
                  <a:pt x="1360" y="108"/>
                </a:lnTo>
                <a:lnTo>
                  <a:pt x="1398" y="130"/>
                </a:lnTo>
                <a:lnTo>
                  <a:pt x="1436" y="154"/>
                </a:lnTo>
                <a:lnTo>
                  <a:pt x="1474" y="180"/>
                </a:lnTo>
                <a:lnTo>
                  <a:pt x="1510" y="208"/>
                </a:lnTo>
                <a:lnTo>
                  <a:pt x="1544" y="238"/>
                </a:lnTo>
                <a:lnTo>
                  <a:pt x="1578" y="270"/>
                </a:lnTo>
                <a:lnTo>
                  <a:pt x="1578" y="270"/>
                </a:lnTo>
                <a:lnTo>
                  <a:pt x="1610" y="304"/>
                </a:lnTo>
                <a:lnTo>
                  <a:pt x="1640" y="338"/>
                </a:lnTo>
                <a:lnTo>
                  <a:pt x="1668" y="374"/>
                </a:lnTo>
                <a:lnTo>
                  <a:pt x="1694" y="410"/>
                </a:lnTo>
                <a:lnTo>
                  <a:pt x="1718" y="448"/>
                </a:lnTo>
                <a:lnTo>
                  <a:pt x="1740" y="488"/>
                </a:lnTo>
                <a:lnTo>
                  <a:pt x="1760" y="528"/>
                </a:lnTo>
                <a:lnTo>
                  <a:pt x="1778" y="570"/>
                </a:lnTo>
                <a:lnTo>
                  <a:pt x="1794" y="612"/>
                </a:lnTo>
                <a:lnTo>
                  <a:pt x="1808" y="654"/>
                </a:lnTo>
                <a:lnTo>
                  <a:pt x="1820" y="698"/>
                </a:lnTo>
                <a:lnTo>
                  <a:pt x="1830" y="742"/>
                </a:lnTo>
                <a:lnTo>
                  <a:pt x="1838" y="786"/>
                </a:lnTo>
                <a:lnTo>
                  <a:pt x="1844" y="832"/>
                </a:lnTo>
                <a:lnTo>
                  <a:pt x="1846" y="876"/>
                </a:lnTo>
                <a:lnTo>
                  <a:pt x="1848" y="924"/>
                </a:lnTo>
                <a:lnTo>
                  <a:pt x="1848" y="924"/>
                </a:lnTo>
                <a:lnTo>
                  <a:pt x="1846" y="970"/>
                </a:lnTo>
                <a:lnTo>
                  <a:pt x="1844" y="1014"/>
                </a:lnTo>
                <a:lnTo>
                  <a:pt x="1838" y="1060"/>
                </a:lnTo>
                <a:lnTo>
                  <a:pt x="1830" y="1104"/>
                </a:lnTo>
                <a:lnTo>
                  <a:pt x="1820" y="1148"/>
                </a:lnTo>
                <a:lnTo>
                  <a:pt x="1808" y="1192"/>
                </a:lnTo>
                <a:lnTo>
                  <a:pt x="1794" y="1234"/>
                </a:lnTo>
                <a:lnTo>
                  <a:pt x="1778" y="1276"/>
                </a:lnTo>
                <a:lnTo>
                  <a:pt x="1760" y="1318"/>
                </a:lnTo>
                <a:lnTo>
                  <a:pt x="1740" y="1358"/>
                </a:lnTo>
                <a:lnTo>
                  <a:pt x="1718" y="1398"/>
                </a:lnTo>
                <a:lnTo>
                  <a:pt x="1694" y="1436"/>
                </a:lnTo>
                <a:lnTo>
                  <a:pt x="1668" y="1472"/>
                </a:lnTo>
                <a:lnTo>
                  <a:pt x="1640" y="1508"/>
                </a:lnTo>
                <a:lnTo>
                  <a:pt x="1610" y="1542"/>
                </a:lnTo>
                <a:lnTo>
                  <a:pt x="1578" y="1576"/>
                </a:lnTo>
                <a:lnTo>
                  <a:pt x="1578" y="1576"/>
                </a:lnTo>
                <a:lnTo>
                  <a:pt x="1544" y="1608"/>
                </a:lnTo>
                <a:lnTo>
                  <a:pt x="1510" y="1638"/>
                </a:lnTo>
                <a:lnTo>
                  <a:pt x="1474" y="1666"/>
                </a:lnTo>
                <a:lnTo>
                  <a:pt x="1436" y="1692"/>
                </a:lnTo>
                <a:lnTo>
                  <a:pt x="1398" y="1716"/>
                </a:lnTo>
                <a:lnTo>
                  <a:pt x="1360" y="1738"/>
                </a:lnTo>
                <a:lnTo>
                  <a:pt x="1318" y="1758"/>
                </a:lnTo>
                <a:lnTo>
                  <a:pt x="1278" y="1778"/>
                </a:lnTo>
                <a:lnTo>
                  <a:pt x="1236" y="1794"/>
                </a:lnTo>
                <a:lnTo>
                  <a:pt x="1194" y="1808"/>
                </a:lnTo>
                <a:lnTo>
                  <a:pt x="1150" y="1820"/>
                </a:lnTo>
                <a:lnTo>
                  <a:pt x="1106" y="1830"/>
                </a:lnTo>
                <a:lnTo>
                  <a:pt x="1060" y="1836"/>
                </a:lnTo>
                <a:lnTo>
                  <a:pt x="1016" y="1842"/>
                </a:lnTo>
                <a:lnTo>
                  <a:pt x="970" y="1846"/>
                </a:lnTo>
                <a:lnTo>
                  <a:pt x="924" y="1848"/>
                </a:lnTo>
                <a:lnTo>
                  <a:pt x="924" y="1848"/>
                </a:lnTo>
                <a:close/>
                <a:moveTo>
                  <a:pt x="924" y="560"/>
                </a:moveTo>
                <a:lnTo>
                  <a:pt x="924" y="560"/>
                </a:lnTo>
                <a:lnTo>
                  <a:pt x="888" y="560"/>
                </a:lnTo>
                <a:lnTo>
                  <a:pt x="852" y="566"/>
                </a:lnTo>
                <a:lnTo>
                  <a:pt x="818" y="574"/>
                </a:lnTo>
                <a:lnTo>
                  <a:pt x="784" y="586"/>
                </a:lnTo>
                <a:lnTo>
                  <a:pt x="752" y="602"/>
                </a:lnTo>
                <a:lnTo>
                  <a:pt x="722" y="620"/>
                </a:lnTo>
                <a:lnTo>
                  <a:pt x="694" y="642"/>
                </a:lnTo>
                <a:lnTo>
                  <a:pt x="666" y="666"/>
                </a:lnTo>
                <a:lnTo>
                  <a:pt x="666" y="666"/>
                </a:lnTo>
                <a:lnTo>
                  <a:pt x="642" y="692"/>
                </a:lnTo>
                <a:lnTo>
                  <a:pt x="622" y="722"/>
                </a:lnTo>
                <a:lnTo>
                  <a:pt x="602" y="752"/>
                </a:lnTo>
                <a:lnTo>
                  <a:pt x="588" y="784"/>
                </a:lnTo>
                <a:lnTo>
                  <a:pt x="576" y="818"/>
                </a:lnTo>
                <a:lnTo>
                  <a:pt x="566" y="852"/>
                </a:lnTo>
                <a:lnTo>
                  <a:pt x="562" y="886"/>
                </a:lnTo>
                <a:lnTo>
                  <a:pt x="560" y="924"/>
                </a:lnTo>
                <a:lnTo>
                  <a:pt x="560" y="924"/>
                </a:lnTo>
                <a:lnTo>
                  <a:pt x="562" y="960"/>
                </a:lnTo>
                <a:lnTo>
                  <a:pt x="568" y="994"/>
                </a:lnTo>
                <a:lnTo>
                  <a:pt x="576" y="1028"/>
                </a:lnTo>
                <a:lnTo>
                  <a:pt x="588" y="1062"/>
                </a:lnTo>
                <a:lnTo>
                  <a:pt x="602" y="1094"/>
                </a:lnTo>
                <a:lnTo>
                  <a:pt x="622" y="1124"/>
                </a:lnTo>
                <a:lnTo>
                  <a:pt x="642" y="1154"/>
                </a:lnTo>
                <a:lnTo>
                  <a:pt x="666" y="1180"/>
                </a:lnTo>
                <a:lnTo>
                  <a:pt x="666" y="1180"/>
                </a:lnTo>
                <a:lnTo>
                  <a:pt x="694" y="1204"/>
                </a:lnTo>
                <a:lnTo>
                  <a:pt x="722" y="1226"/>
                </a:lnTo>
                <a:lnTo>
                  <a:pt x="752" y="1244"/>
                </a:lnTo>
                <a:lnTo>
                  <a:pt x="784" y="1260"/>
                </a:lnTo>
                <a:lnTo>
                  <a:pt x="818" y="1272"/>
                </a:lnTo>
                <a:lnTo>
                  <a:pt x="852" y="1280"/>
                </a:lnTo>
                <a:lnTo>
                  <a:pt x="888" y="1286"/>
                </a:lnTo>
                <a:lnTo>
                  <a:pt x="924" y="1288"/>
                </a:lnTo>
                <a:lnTo>
                  <a:pt x="924" y="1288"/>
                </a:lnTo>
                <a:lnTo>
                  <a:pt x="960" y="1286"/>
                </a:lnTo>
                <a:lnTo>
                  <a:pt x="996" y="1280"/>
                </a:lnTo>
                <a:lnTo>
                  <a:pt x="1030" y="1272"/>
                </a:lnTo>
                <a:lnTo>
                  <a:pt x="1064" y="1260"/>
                </a:lnTo>
                <a:lnTo>
                  <a:pt x="1096" y="1244"/>
                </a:lnTo>
                <a:lnTo>
                  <a:pt x="1126" y="1226"/>
                </a:lnTo>
                <a:lnTo>
                  <a:pt x="1154" y="1204"/>
                </a:lnTo>
                <a:lnTo>
                  <a:pt x="1182" y="1180"/>
                </a:lnTo>
                <a:lnTo>
                  <a:pt x="1182" y="1180"/>
                </a:lnTo>
                <a:lnTo>
                  <a:pt x="1206" y="1154"/>
                </a:lnTo>
                <a:lnTo>
                  <a:pt x="1226" y="1124"/>
                </a:lnTo>
                <a:lnTo>
                  <a:pt x="1246" y="1094"/>
                </a:lnTo>
                <a:lnTo>
                  <a:pt x="1260" y="1062"/>
                </a:lnTo>
                <a:lnTo>
                  <a:pt x="1272" y="1028"/>
                </a:lnTo>
                <a:lnTo>
                  <a:pt x="1282" y="994"/>
                </a:lnTo>
                <a:lnTo>
                  <a:pt x="1286" y="960"/>
                </a:lnTo>
                <a:lnTo>
                  <a:pt x="1288" y="924"/>
                </a:lnTo>
                <a:lnTo>
                  <a:pt x="1288" y="924"/>
                </a:lnTo>
                <a:lnTo>
                  <a:pt x="1286" y="886"/>
                </a:lnTo>
                <a:lnTo>
                  <a:pt x="1282" y="852"/>
                </a:lnTo>
                <a:lnTo>
                  <a:pt x="1272" y="818"/>
                </a:lnTo>
                <a:lnTo>
                  <a:pt x="1260" y="784"/>
                </a:lnTo>
                <a:lnTo>
                  <a:pt x="1246" y="752"/>
                </a:lnTo>
                <a:lnTo>
                  <a:pt x="1226" y="722"/>
                </a:lnTo>
                <a:lnTo>
                  <a:pt x="1206" y="692"/>
                </a:lnTo>
                <a:lnTo>
                  <a:pt x="1182" y="666"/>
                </a:lnTo>
                <a:lnTo>
                  <a:pt x="1182" y="666"/>
                </a:lnTo>
                <a:lnTo>
                  <a:pt x="1154" y="642"/>
                </a:lnTo>
                <a:lnTo>
                  <a:pt x="1126" y="620"/>
                </a:lnTo>
                <a:lnTo>
                  <a:pt x="1096" y="602"/>
                </a:lnTo>
                <a:lnTo>
                  <a:pt x="1064" y="586"/>
                </a:lnTo>
                <a:lnTo>
                  <a:pt x="1030" y="574"/>
                </a:lnTo>
                <a:lnTo>
                  <a:pt x="996" y="566"/>
                </a:lnTo>
                <a:lnTo>
                  <a:pt x="960" y="560"/>
                </a:lnTo>
                <a:lnTo>
                  <a:pt x="924" y="560"/>
                </a:lnTo>
                <a:lnTo>
                  <a:pt x="924" y="560"/>
                </a:lnTo>
                <a:close/>
              </a:path>
            </a:pathLst>
          </a:custGeom>
          <a:solidFill>
            <a:srgbClr val="D5D5D5"/>
          </a:solidFill>
          <a:ln w="3175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2" name="Freeform 6"/>
          <p:cNvSpPr>
            <a:spLocks/>
          </p:cNvSpPr>
          <p:nvPr/>
        </p:nvSpPr>
        <p:spPr bwMode="auto">
          <a:xfrm>
            <a:off x="7735189" y="2081888"/>
            <a:ext cx="515508" cy="458422"/>
          </a:xfrm>
          <a:custGeom>
            <a:avLst/>
            <a:gdLst>
              <a:gd name="T0" fmla="*/ 314 w 596"/>
              <a:gd name="T1" fmla="*/ 530 h 530"/>
              <a:gd name="T2" fmla="*/ 596 w 596"/>
              <a:gd name="T3" fmla="*/ 246 h 530"/>
              <a:gd name="T4" fmla="*/ 596 w 596"/>
              <a:gd name="T5" fmla="*/ 246 h 530"/>
              <a:gd name="T6" fmla="*/ 568 w 596"/>
              <a:gd name="T7" fmla="*/ 218 h 530"/>
              <a:gd name="T8" fmla="*/ 536 w 596"/>
              <a:gd name="T9" fmla="*/ 192 h 530"/>
              <a:gd name="T10" fmla="*/ 504 w 596"/>
              <a:gd name="T11" fmla="*/ 166 h 530"/>
              <a:gd name="T12" fmla="*/ 472 w 596"/>
              <a:gd name="T13" fmla="*/ 144 h 530"/>
              <a:gd name="T14" fmla="*/ 438 w 596"/>
              <a:gd name="T15" fmla="*/ 122 h 530"/>
              <a:gd name="T16" fmla="*/ 402 w 596"/>
              <a:gd name="T17" fmla="*/ 100 h 530"/>
              <a:gd name="T18" fmla="*/ 366 w 596"/>
              <a:gd name="T19" fmla="*/ 82 h 530"/>
              <a:gd name="T20" fmla="*/ 328 w 596"/>
              <a:gd name="T21" fmla="*/ 66 h 530"/>
              <a:gd name="T22" fmla="*/ 290 w 596"/>
              <a:gd name="T23" fmla="*/ 50 h 530"/>
              <a:gd name="T24" fmla="*/ 250 w 596"/>
              <a:gd name="T25" fmla="*/ 36 h 530"/>
              <a:gd name="T26" fmla="*/ 210 w 596"/>
              <a:gd name="T27" fmla="*/ 26 h 530"/>
              <a:gd name="T28" fmla="*/ 170 w 596"/>
              <a:gd name="T29" fmla="*/ 16 h 530"/>
              <a:gd name="T30" fmla="*/ 128 w 596"/>
              <a:gd name="T31" fmla="*/ 8 h 530"/>
              <a:gd name="T32" fmla="*/ 86 w 596"/>
              <a:gd name="T33" fmla="*/ 4 h 530"/>
              <a:gd name="T34" fmla="*/ 44 w 596"/>
              <a:gd name="T35" fmla="*/ 0 h 530"/>
              <a:gd name="T36" fmla="*/ 0 w 596"/>
              <a:gd name="T37" fmla="*/ 0 h 530"/>
              <a:gd name="T38" fmla="*/ 0 w 596"/>
              <a:gd name="T39" fmla="*/ 400 h 530"/>
              <a:gd name="T40" fmla="*/ 0 w 596"/>
              <a:gd name="T41" fmla="*/ 400 h 530"/>
              <a:gd name="T42" fmla="*/ 46 w 596"/>
              <a:gd name="T43" fmla="*/ 402 h 530"/>
              <a:gd name="T44" fmla="*/ 90 w 596"/>
              <a:gd name="T45" fmla="*/ 408 h 530"/>
              <a:gd name="T46" fmla="*/ 132 w 596"/>
              <a:gd name="T47" fmla="*/ 418 h 530"/>
              <a:gd name="T48" fmla="*/ 172 w 596"/>
              <a:gd name="T49" fmla="*/ 434 h 530"/>
              <a:gd name="T50" fmla="*/ 212 w 596"/>
              <a:gd name="T51" fmla="*/ 452 h 530"/>
              <a:gd name="T52" fmla="*/ 248 w 596"/>
              <a:gd name="T53" fmla="*/ 474 h 530"/>
              <a:gd name="T54" fmla="*/ 282 w 596"/>
              <a:gd name="T55" fmla="*/ 500 h 530"/>
              <a:gd name="T56" fmla="*/ 314 w 596"/>
              <a:gd name="T57" fmla="*/ 530 h 530"/>
              <a:gd name="T58" fmla="*/ 314 w 596"/>
              <a:gd name="T59" fmla="*/ 530 h 5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96" h="530">
                <a:moveTo>
                  <a:pt x="314" y="530"/>
                </a:moveTo>
                <a:lnTo>
                  <a:pt x="596" y="246"/>
                </a:lnTo>
                <a:lnTo>
                  <a:pt x="596" y="246"/>
                </a:lnTo>
                <a:lnTo>
                  <a:pt x="568" y="218"/>
                </a:lnTo>
                <a:lnTo>
                  <a:pt x="536" y="192"/>
                </a:lnTo>
                <a:lnTo>
                  <a:pt x="504" y="166"/>
                </a:lnTo>
                <a:lnTo>
                  <a:pt x="472" y="144"/>
                </a:lnTo>
                <a:lnTo>
                  <a:pt x="438" y="122"/>
                </a:lnTo>
                <a:lnTo>
                  <a:pt x="402" y="100"/>
                </a:lnTo>
                <a:lnTo>
                  <a:pt x="366" y="82"/>
                </a:lnTo>
                <a:lnTo>
                  <a:pt x="328" y="66"/>
                </a:lnTo>
                <a:lnTo>
                  <a:pt x="290" y="50"/>
                </a:lnTo>
                <a:lnTo>
                  <a:pt x="250" y="36"/>
                </a:lnTo>
                <a:lnTo>
                  <a:pt x="210" y="26"/>
                </a:lnTo>
                <a:lnTo>
                  <a:pt x="170" y="16"/>
                </a:lnTo>
                <a:lnTo>
                  <a:pt x="128" y="8"/>
                </a:lnTo>
                <a:lnTo>
                  <a:pt x="86" y="4"/>
                </a:lnTo>
                <a:lnTo>
                  <a:pt x="44" y="0"/>
                </a:lnTo>
                <a:lnTo>
                  <a:pt x="0" y="0"/>
                </a:lnTo>
                <a:lnTo>
                  <a:pt x="0" y="400"/>
                </a:lnTo>
                <a:lnTo>
                  <a:pt x="0" y="400"/>
                </a:lnTo>
                <a:lnTo>
                  <a:pt x="46" y="402"/>
                </a:lnTo>
                <a:lnTo>
                  <a:pt x="90" y="408"/>
                </a:lnTo>
                <a:lnTo>
                  <a:pt x="132" y="418"/>
                </a:lnTo>
                <a:lnTo>
                  <a:pt x="172" y="434"/>
                </a:lnTo>
                <a:lnTo>
                  <a:pt x="212" y="452"/>
                </a:lnTo>
                <a:lnTo>
                  <a:pt x="248" y="474"/>
                </a:lnTo>
                <a:lnTo>
                  <a:pt x="282" y="500"/>
                </a:lnTo>
                <a:lnTo>
                  <a:pt x="314" y="530"/>
                </a:lnTo>
                <a:lnTo>
                  <a:pt x="314" y="530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7"/>
          <p:cNvSpPr>
            <a:spLocks/>
          </p:cNvSpPr>
          <p:nvPr/>
        </p:nvSpPr>
        <p:spPr bwMode="auto">
          <a:xfrm>
            <a:off x="8006782" y="2294665"/>
            <a:ext cx="458422" cy="517238"/>
          </a:xfrm>
          <a:custGeom>
            <a:avLst/>
            <a:gdLst>
              <a:gd name="T0" fmla="*/ 130 w 530"/>
              <a:gd name="T1" fmla="*/ 598 h 598"/>
              <a:gd name="T2" fmla="*/ 530 w 530"/>
              <a:gd name="T3" fmla="*/ 598 h 598"/>
              <a:gd name="T4" fmla="*/ 530 w 530"/>
              <a:gd name="T5" fmla="*/ 598 h 598"/>
              <a:gd name="T6" fmla="*/ 528 w 530"/>
              <a:gd name="T7" fmla="*/ 554 h 598"/>
              <a:gd name="T8" fmla="*/ 526 w 530"/>
              <a:gd name="T9" fmla="*/ 510 h 598"/>
              <a:gd name="T10" fmla="*/ 520 w 530"/>
              <a:gd name="T11" fmla="*/ 468 h 598"/>
              <a:gd name="T12" fmla="*/ 512 w 530"/>
              <a:gd name="T13" fmla="*/ 426 h 598"/>
              <a:gd name="T14" fmla="*/ 504 w 530"/>
              <a:gd name="T15" fmla="*/ 386 h 598"/>
              <a:gd name="T16" fmla="*/ 492 w 530"/>
              <a:gd name="T17" fmla="*/ 346 h 598"/>
              <a:gd name="T18" fmla="*/ 478 w 530"/>
              <a:gd name="T19" fmla="*/ 306 h 598"/>
              <a:gd name="T20" fmla="*/ 464 w 530"/>
              <a:gd name="T21" fmla="*/ 268 h 598"/>
              <a:gd name="T22" fmla="*/ 446 w 530"/>
              <a:gd name="T23" fmla="*/ 232 h 598"/>
              <a:gd name="T24" fmla="*/ 428 w 530"/>
              <a:gd name="T25" fmla="*/ 194 h 598"/>
              <a:gd name="T26" fmla="*/ 408 w 530"/>
              <a:gd name="T27" fmla="*/ 160 h 598"/>
              <a:gd name="T28" fmla="*/ 386 w 530"/>
              <a:gd name="T29" fmla="*/ 126 h 598"/>
              <a:gd name="T30" fmla="*/ 362 w 530"/>
              <a:gd name="T31" fmla="*/ 92 h 598"/>
              <a:gd name="T32" fmla="*/ 338 w 530"/>
              <a:gd name="T33" fmla="*/ 60 h 598"/>
              <a:gd name="T34" fmla="*/ 310 w 530"/>
              <a:gd name="T35" fmla="*/ 30 h 598"/>
              <a:gd name="T36" fmla="*/ 282 w 530"/>
              <a:gd name="T37" fmla="*/ 0 h 598"/>
              <a:gd name="T38" fmla="*/ 0 w 530"/>
              <a:gd name="T39" fmla="*/ 284 h 598"/>
              <a:gd name="T40" fmla="*/ 0 w 530"/>
              <a:gd name="T41" fmla="*/ 284 h 598"/>
              <a:gd name="T42" fmla="*/ 28 w 530"/>
              <a:gd name="T43" fmla="*/ 314 h 598"/>
              <a:gd name="T44" fmla="*/ 54 w 530"/>
              <a:gd name="T45" fmla="*/ 348 h 598"/>
              <a:gd name="T46" fmla="*/ 76 w 530"/>
              <a:gd name="T47" fmla="*/ 386 h 598"/>
              <a:gd name="T48" fmla="*/ 96 w 530"/>
              <a:gd name="T49" fmla="*/ 424 h 598"/>
              <a:gd name="T50" fmla="*/ 110 w 530"/>
              <a:gd name="T51" fmla="*/ 466 h 598"/>
              <a:gd name="T52" fmla="*/ 120 w 530"/>
              <a:gd name="T53" fmla="*/ 508 h 598"/>
              <a:gd name="T54" fmla="*/ 128 w 530"/>
              <a:gd name="T55" fmla="*/ 552 h 598"/>
              <a:gd name="T56" fmla="*/ 130 w 530"/>
              <a:gd name="T57" fmla="*/ 598 h 598"/>
              <a:gd name="T58" fmla="*/ 130 w 530"/>
              <a:gd name="T59" fmla="*/ 598 h 5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30" h="598">
                <a:moveTo>
                  <a:pt x="130" y="598"/>
                </a:moveTo>
                <a:lnTo>
                  <a:pt x="530" y="598"/>
                </a:lnTo>
                <a:lnTo>
                  <a:pt x="530" y="598"/>
                </a:lnTo>
                <a:lnTo>
                  <a:pt x="528" y="554"/>
                </a:lnTo>
                <a:lnTo>
                  <a:pt x="526" y="510"/>
                </a:lnTo>
                <a:lnTo>
                  <a:pt x="520" y="468"/>
                </a:lnTo>
                <a:lnTo>
                  <a:pt x="512" y="426"/>
                </a:lnTo>
                <a:lnTo>
                  <a:pt x="504" y="386"/>
                </a:lnTo>
                <a:lnTo>
                  <a:pt x="492" y="346"/>
                </a:lnTo>
                <a:lnTo>
                  <a:pt x="478" y="306"/>
                </a:lnTo>
                <a:lnTo>
                  <a:pt x="464" y="268"/>
                </a:lnTo>
                <a:lnTo>
                  <a:pt x="446" y="232"/>
                </a:lnTo>
                <a:lnTo>
                  <a:pt x="428" y="194"/>
                </a:lnTo>
                <a:lnTo>
                  <a:pt x="408" y="160"/>
                </a:lnTo>
                <a:lnTo>
                  <a:pt x="386" y="126"/>
                </a:lnTo>
                <a:lnTo>
                  <a:pt x="362" y="92"/>
                </a:lnTo>
                <a:lnTo>
                  <a:pt x="338" y="60"/>
                </a:lnTo>
                <a:lnTo>
                  <a:pt x="310" y="30"/>
                </a:lnTo>
                <a:lnTo>
                  <a:pt x="282" y="0"/>
                </a:lnTo>
                <a:lnTo>
                  <a:pt x="0" y="284"/>
                </a:lnTo>
                <a:lnTo>
                  <a:pt x="0" y="284"/>
                </a:lnTo>
                <a:lnTo>
                  <a:pt x="28" y="314"/>
                </a:lnTo>
                <a:lnTo>
                  <a:pt x="54" y="348"/>
                </a:lnTo>
                <a:lnTo>
                  <a:pt x="76" y="386"/>
                </a:lnTo>
                <a:lnTo>
                  <a:pt x="96" y="424"/>
                </a:lnTo>
                <a:lnTo>
                  <a:pt x="110" y="466"/>
                </a:lnTo>
                <a:lnTo>
                  <a:pt x="120" y="508"/>
                </a:lnTo>
                <a:lnTo>
                  <a:pt x="128" y="552"/>
                </a:lnTo>
                <a:lnTo>
                  <a:pt x="130" y="598"/>
                </a:lnTo>
                <a:lnTo>
                  <a:pt x="130" y="598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Freeform 8"/>
          <p:cNvSpPr>
            <a:spLocks/>
          </p:cNvSpPr>
          <p:nvPr/>
        </p:nvSpPr>
        <p:spPr bwMode="auto">
          <a:xfrm>
            <a:off x="7219681" y="2081888"/>
            <a:ext cx="515508" cy="458422"/>
          </a:xfrm>
          <a:custGeom>
            <a:avLst/>
            <a:gdLst>
              <a:gd name="T0" fmla="*/ 596 w 596"/>
              <a:gd name="T1" fmla="*/ 400 h 530"/>
              <a:gd name="T2" fmla="*/ 596 w 596"/>
              <a:gd name="T3" fmla="*/ 0 h 530"/>
              <a:gd name="T4" fmla="*/ 596 w 596"/>
              <a:gd name="T5" fmla="*/ 0 h 530"/>
              <a:gd name="T6" fmla="*/ 552 w 596"/>
              <a:gd name="T7" fmla="*/ 0 h 530"/>
              <a:gd name="T8" fmla="*/ 510 w 596"/>
              <a:gd name="T9" fmla="*/ 4 h 530"/>
              <a:gd name="T10" fmla="*/ 468 w 596"/>
              <a:gd name="T11" fmla="*/ 8 h 530"/>
              <a:gd name="T12" fmla="*/ 426 w 596"/>
              <a:gd name="T13" fmla="*/ 16 h 530"/>
              <a:gd name="T14" fmla="*/ 386 w 596"/>
              <a:gd name="T15" fmla="*/ 26 h 530"/>
              <a:gd name="T16" fmla="*/ 346 w 596"/>
              <a:gd name="T17" fmla="*/ 36 h 530"/>
              <a:gd name="T18" fmla="*/ 306 w 596"/>
              <a:gd name="T19" fmla="*/ 50 h 530"/>
              <a:gd name="T20" fmla="*/ 268 w 596"/>
              <a:gd name="T21" fmla="*/ 66 h 530"/>
              <a:gd name="T22" fmla="*/ 230 w 596"/>
              <a:gd name="T23" fmla="*/ 82 h 530"/>
              <a:gd name="T24" fmla="*/ 194 w 596"/>
              <a:gd name="T25" fmla="*/ 100 h 530"/>
              <a:gd name="T26" fmla="*/ 158 w 596"/>
              <a:gd name="T27" fmla="*/ 122 h 530"/>
              <a:gd name="T28" fmla="*/ 124 w 596"/>
              <a:gd name="T29" fmla="*/ 144 h 530"/>
              <a:gd name="T30" fmla="*/ 92 w 596"/>
              <a:gd name="T31" fmla="*/ 166 h 530"/>
              <a:gd name="T32" fmla="*/ 60 w 596"/>
              <a:gd name="T33" fmla="*/ 192 h 530"/>
              <a:gd name="T34" fmla="*/ 28 w 596"/>
              <a:gd name="T35" fmla="*/ 218 h 530"/>
              <a:gd name="T36" fmla="*/ 0 w 596"/>
              <a:gd name="T37" fmla="*/ 246 h 530"/>
              <a:gd name="T38" fmla="*/ 282 w 596"/>
              <a:gd name="T39" fmla="*/ 530 h 530"/>
              <a:gd name="T40" fmla="*/ 282 w 596"/>
              <a:gd name="T41" fmla="*/ 530 h 530"/>
              <a:gd name="T42" fmla="*/ 314 w 596"/>
              <a:gd name="T43" fmla="*/ 500 h 530"/>
              <a:gd name="T44" fmla="*/ 348 w 596"/>
              <a:gd name="T45" fmla="*/ 474 h 530"/>
              <a:gd name="T46" fmla="*/ 384 w 596"/>
              <a:gd name="T47" fmla="*/ 452 h 530"/>
              <a:gd name="T48" fmla="*/ 424 w 596"/>
              <a:gd name="T49" fmla="*/ 434 h 530"/>
              <a:gd name="T50" fmla="*/ 464 w 596"/>
              <a:gd name="T51" fmla="*/ 418 h 530"/>
              <a:gd name="T52" fmla="*/ 506 w 596"/>
              <a:gd name="T53" fmla="*/ 408 h 530"/>
              <a:gd name="T54" fmla="*/ 550 w 596"/>
              <a:gd name="T55" fmla="*/ 402 h 530"/>
              <a:gd name="T56" fmla="*/ 596 w 596"/>
              <a:gd name="T57" fmla="*/ 400 h 530"/>
              <a:gd name="T58" fmla="*/ 596 w 596"/>
              <a:gd name="T59" fmla="*/ 400 h 5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96" h="530">
                <a:moveTo>
                  <a:pt x="596" y="400"/>
                </a:moveTo>
                <a:lnTo>
                  <a:pt x="596" y="0"/>
                </a:lnTo>
                <a:lnTo>
                  <a:pt x="596" y="0"/>
                </a:lnTo>
                <a:lnTo>
                  <a:pt x="552" y="0"/>
                </a:lnTo>
                <a:lnTo>
                  <a:pt x="510" y="4"/>
                </a:lnTo>
                <a:lnTo>
                  <a:pt x="468" y="8"/>
                </a:lnTo>
                <a:lnTo>
                  <a:pt x="426" y="16"/>
                </a:lnTo>
                <a:lnTo>
                  <a:pt x="386" y="26"/>
                </a:lnTo>
                <a:lnTo>
                  <a:pt x="346" y="36"/>
                </a:lnTo>
                <a:lnTo>
                  <a:pt x="306" y="50"/>
                </a:lnTo>
                <a:lnTo>
                  <a:pt x="268" y="66"/>
                </a:lnTo>
                <a:lnTo>
                  <a:pt x="230" y="82"/>
                </a:lnTo>
                <a:lnTo>
                  <a:pt x="194" y="100"/>
                </a:lnTo>
                <a:lnTo>
                  <a:pt x="158" y="122"/>
                </a:lnTo>
                <a:lnTo>
                  <a:pt x="124" y="144"/>
                </a:lnTo>
                <a:lnTo>
                  <a:pt x="92" y="166"/>
                </a:lnTo>
                <a:lnTo>
                  <a:pt x="60" y="192"/>
                </a:lnTo>
                <a:lnTo>
                  <a:pt x="28" y="218"/>
                </a:lnTo>
                <a:lnTo>
                  <a:pt x="0" y="246"/>
                </a:lnTo>
                <a:lnTo>
                  <a:pt x="282" y="530"/>
                </a:lnTo>
                <a:lnTo>
                  <a:pt x="282" y="530"/>
                </a:lnTo>
                <a:lnTo>
                  <a:pt x="314" y="500"/>
                </a:lnTo>
                <a:lnTo>
                  <a:pt x="348" y="474"/>
                </a:lnTo>
                <a:lnTo>
                  <a:pt x="384" y="452"/>
                </a:lnTo>
                <a:lnTo>
                  <a:pt x="424" y="434"/>
                </a:lnTo>
                <a:lnTo>
                  <a:pt x="464" y="418"/>
                </a:lnTo>
                <a:lnTo>
                  <a:pt x="506" y="408"/>
                </a:lnTo>
                <a:lnTo>
                  <a:pt x="550" y="402"/>
                </a:lnTo>
                <a:lnTo>
                  <a:pt x="596" y="400"/>
                </a:lnTo>
                <a:lnTo>
                  <a:pt x="596" y="400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9"/>
          <p:cNvSpPr>
            <a:spLocks/>
          </p:cNvSpPr>
          <p:nvPr/>
        </p:nvSpPr>
        <p:spPr bwMode="auto">
          <a:xfrm>
            <a:off x="8006782" y="2811903"/>
            <a:ext cx="458422" cy="515508"/>
          </a:xfrm>
          <a:custGeom>
            <a:avLst/>
            <a:gdLst>
              <a:gd name="T0" fmla="*/ 130 w 530"/>
              <a:gd name="T1" fmla="*/ 0 h 596"/>
              <a:gd name="T2" fmla="*/ 130 w 530"/>
              <a:gd name="T3" fmla="*/ 0 h 596"/>
              <a:gd name="T4" fmla="*/ 128 w 530"/>
              <a:gd name="T5" fmla="*/ 44 h 596"/>
              <a:gd name="T6" fmla="*/ 120 w 530"/>
              <a:gd name="T7" fmla="*/ 88 h 596"/>
              <a:gd name="T8" fmla="*/ 110 w 530"/>
              <a:gd name="T9" fmla="*/ 130 h 596"/>
              <a:gd name="T10" fmla="*/ 96 w 530"/>
              <a:gd name="T11" fmla="*/ 172 h 596"/>
              <a:gd name="T12" fmla="*/ 76 w 530"/>
              <a:gd name="T13" fmla="*/ 210 h 596"/>
              <a:gd name="T14" fmla="*/ 54 w 530"/>
              <a:gd name="T15" fmla="*/ 248 h 596"/>
              <a:gd name="T16" fmla="*/ 28 w 530"/>
              <a:gd name="T17" fmla="*/ 282 h 596"/>
              <a:gd name="T18" fmla="*/ 0 w 530"/>
              <a:gd name="T19" fmla="*/ 312 h 596"/>
              <a:gd name="T20" fmla="*/ 282 w 530"/>
              <a:gd name="T21" fmla="*/ 596 h 596"/>
              <a:gd name="T22" fmla="*/ 282 w 530"/>
              <a:gd name="T23" fmla="*/ 596 h 596"/>
              <a:gd name="T24" fmla="*/ 310 w 530"/>
              <a:gd name="T25" fmla="*/ 566 h 596"/>
              <a:gd name="T26" fmla="*/ 338 w 530"/>
              <a:gd name="T27" fmla="*/ 536 h 596"/>
              <a:gd name="T28" fmla="*/ 362 w 530"/>
              <a:gd name="T29" fmla="*/ 504 h 596"/>
              <a:gd name="T30" fmla="*/ 386 w 530"/>
              <a:gd name="T31" fmla="*/ 470 h 596"/>
              <a:gd name="T32" fmla="*/ 408 w 530"/>
              <a:gd name="T33" fmla="*/ 436 h 596"/>
              <a:gd name="T34" fmla="*/ 428 w 530"/>
              <a:gd name="T35" fmla="*/ 402 h 596"/>
              <a:gd name="T36" fmla="*/ 446 w 530"/>
              <a:gd name="T37" fmla="*/ 364 h 596"/>
              <a:gd name="T38" fmla="*/ 464 w 530"/>
              <a:gd name="T39" fmla="*/ 328 h 596"/>
              <a:gd name="T40" fmla="*/ 478 w 530"/>
              <a:gd name="T41" fmla="*/ 290 h 596"/>
              <a:gd name="T42" fmla="*/ 492 w 530"/>
              <a:gd name="T43" fmla="*/ 250 h 596"/>
              <a:gd name="T44" fmla="*/ 504 w 530"/>
              <a:gd name="T45" fmla="*/ 210 h 596"/>
              <a:gd name="T46" fmla="*/ 512 w 530"/>
              <a:gd name="T47" fmla="*/ 170 h 596"/>
              <a:gd name="T48" fmla="*/ 520 w 530"/>
              <a:gd name="T49" fmla="*/ 128 h 596"/>
              <a:gd name="T50" fmla="*/ 526 w 530"/>
              <a:gd name="T51" fmla="*/ 86 h 596"/>
              <a:gd name="T52" fmla="*/ 528 w 530"/>
              <a:gd name="T53" fmla="*/ 42 h 596"/>
              <a:gd name="T54" fmla="*/ 530 w 530"/>
              <a:gd name="T55" fmla="*/ 0 h 596"/>
              <a:gd name="T56" fmla="*/ 130 w 530"/>
              <a:gd name="T57" fmla="*/ 0 h 5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530" h="596">
                <a:moveTo>
                  <a:pt x="130" y="0"/>
                </a:moveTo>
                <a:lnTo>
                  <a:pt x="130" y="0"/>
                </a:lnTo>
                <a:lnTo>
                  <a:pt x="128" y="44"/>
                </a:lnTo>
                <a:lnTo>
                  <a:pt x="120" y="88"/>
                </a:lnTo>
                <a:lnTo>
                  <a:pt x="110" y="130"/>
                </a:lnTo>
                <a:lnTo>
                  <a:pt x="96" y="172"/>
                </a:lnTo>
                <a:lnTo>
                  <a:pt x="76" y="210"/>
                </a:lnTo>
                <a:lnTo>
                  <a:pt x="54" y="248"/>
                </a:lnTo>
                <a:lnTo>
                  <a:pt x="28" y="282"/>
                </a:lnTo>
                <a:lnTo>
                  <a:pt x="0" y="312"/>
                </a:lnTo>
                <a:lnTo>
                  <a:pt x="282" y="596"/>
                </a:lnTo>
                <a:lnTo>
                  <a:pt x="282" y="596"/>
                </a:lnTo>
                <a:lnTo>
                  <a:pt x="310" y="566"/>
                </a:lnTo>
                <a:lnTo>
                  <a:pt x="338" y="536"/>
                </a:lnTo>
                <a:lnTo>
                  <a:pt x="362" y="504"/>
                </a:lnTo>
                <a:lnTo>
                  <a:pt x="386" y="470"/>
                </a:lnTo>
                <a:lnTo>
                  <a:pt x="408" y="436"/>
                </a:lnTo>
                <a:lnTo>
                  <a:pt x="428" y="402"/>
                </a:lnTo>
                <a:lnTo>
                  <a:pt x="446" y="364"/>
                </a:lnTo>
                <a:lnTo>
                  <a:pt x="464" y="328"/>
                </a:lnTo>
                <a:lnTo>
                  <a:pt x="478" y="290"/>
                </a:lnTo>
                <a:lnTo>
                  <a:pt x="492" y="250"/>
                </a:lnTo>
                <a:lnTo>
                  <a:pt x="504" y="210"/>
                </a:lnTo>
                <a:lnTo>
                  <a:pt x="512" y="170"/>
                </a:lnTo>
                <a:lnTo>
                  <a:pt x="520" y="128"/>
                </a:lnTo>
                <a:lnTo>
                  <a:pt x="526" y="86"/>
                </a:lnTo>
                <a:lnTo>
                  <a:pt x="528" y="42"/>
                </a:lnTo>
                <a:lnTo>
                  <a:pt x="530" y="0"/>
                </a:lnTo>
                <a:lnTo>
                  <a:pt x="130" y="0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Freeform 10"/>
          <p:cNvSpPr>
            <a:spLocks/>
          </p:cNvSpPr>
          <p:nvPr/>
        </p:nvSpPr>
        <p:spPr bwMode="auto">
          <a:xfrm>
            <a:off x="7735189" y="3081766"/>
            <a:ext cx="515508" cy="460152"/>
          </a:xfrm>
          <a:custGeom>
            <a:avLst/>
            <a:gdLst>
              <a:gd name="T0" fmla="*/ 0 w 596"/>
              <a:gd name="T1" fmla="*/ 132 h 532"/>
              <a:gd name="T2" fmla="*/ 0 w 596"/>
              <a:gd name="T3" fmla="*/ 532 h 532"/>
              <a:gd name="T4" fmla="*/ 0 w 596"/>
              <a:gd name="T5" fmla="*/ 532 h 532"/>
              <a:gd name="T6" fmla="*/ 44 w 596"/>
              <a:gd name="T7" fmla="*/ 530 h 532"/>
              <a:gd name="T8" fmla="*/ 86 w 596"/>
              <a:gd name="T9" fmla="*/ 526 h 532"/>
              <a:gd name="T10" fmla="*/ 128 w 596"/>
              <a:gd name="T11" fmla="*/ 522 h 532"/>
              <a:gd name="T12" fmla="*/ 170 w 596"/>
              <a:gd name="T13" fmla="*/ 514 h 532"/>
              <a:gd name="T14" fmla="*/ 210 w 596"/>
              <a:gd name="T15" fmla="*/ 504 h 532"/>
              <a:gd name="T16" fmla="*/ 250 w 596"/>
              <a:gd name="T17" fmla="*/ 494 h 532"/>
              <a:gd name="T18" fmla="*/ 290 w 596"/>
              <a:gd name="T19" fmla="*/ 480 h 532"/>
              <a:gd name="T20" fmla="*/ 328 w 596"/>
              <a:gd name="T21" fmla="*/ 464 h 532"/>
              <a:gd name="T22" fmla="*/ 366 w 596"/>
              <a:gd name="T23" fmla="*/ 448 h 532"/>
              <a:gd name="T24" fmla="*/ 402 w 596"/>
              <a:gd name="T25" fmla="*/ 430 h 532"/>
              <a:gd name="T26" fmla="*/ 438 w 596"/>
              <a:gd name="T27" fmla="*/ 408 h 532"/>
              <a:gd name="T28" fmla="*/ 472 w 596"/>
              <a:gd name="T29" fmla="*/ 386 h 532"/>
              <a:gd name="T30" fmla="*/ 504 w 596"/>
              <a:gd name="T31" fmla="*/ 364 h 532"/>
              <a:gd name="T32" fmla="*/ 536 w 596"/>
              <a:gd name="T33" fmla="*/ 338 h 532"/>
              <a:gd name="T34" fmla="*/ 568 w 596"/>
              <a:gd name="T35" fmla="*/ 312 h 532"/>
              <a:gd name="T36" fmla="*/ 596 w 596"/>
              <a:gd name="T37" fmla="*/ 284 h 532"/>
              <a:gd name="T38" fmla="*/ 314 w 596"/>
              <a:gd name="T39" fmla="*/ 0 h 532"/>
              <a:gd name="T40" fmla="*/ 314 w 596"/>
              <a:gd name="T41" fmla="*/ 0 h 532"/>
              <a:gd name="T42" fmla="*/ 282 w 596"/>
              <a:gd name="T43" fmla="*/ 30 h 532"/>
              <a:gd name="T44" fmla="*/ 248 w 596"/>
              <a:gd name="T45" fmla="*/ 56 h 532"/>
              <a:gd name="T46" fmla="*/ 212 w 596"/>
              <a:gd name="T47" fmla="*/ 78 h 532"/>
              <a:gd name="T48" fmla="*/ 172 w 596"/>
              <a:gd name="T49" fmla="*/ 96 h 532"/>
              <a:gd name="T50" fmla="*/ 132 w 596"/>
              <a:gd name="T51" fmla="*/ 112 h 532"/>
              <a:gd name="T52" fmla="*/ 90 w 596"/>
              <a:gd name="T53" fmla="*/ 122 h 532"/>
              <a:gd name="T54" fmla="*/ 46 w 596"/>
              <a:gd name="T55" fmla="*/ 128 h 532"/>
              <a:gd name="T56" fmla="*/ 0 w 596"/>
              <a:gd name="T57" fmla="*/ 132 h 532"/>
              <a:gd name="T58" fmla="*/ 0 w 596"/>
              <a:gd name="T59" fmla="*/ 132 h 5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96" h="532">
                <a:moveTo>
                  <a:pt x="0" y="132"/>
                </a:moveTo>
                <a:lnTo>
                  <a:pt x="0" y="532"/>
                </a:lnTo>
                <a:lnTo>
                  <a:pt x="0" y="532"/>
                </a:lnTo>
                <a:lnTo>
                  <a:pt x="44" y="530"/>
                </a:lnTo>
                <a:lnTo>
                  <a:pt x="86" y="526"/>
                </a:lnTo>
                <a:lnTo>
                  <a:pt x="128" y="522"/>
                </a:lnTo>
                <a:lnTo>
                  <a:pt x="170" y="514"/>
                </a:lnTo>
                <a:lnTo>
                  <a:pt x="210" y="504"/>
                </a:lnTo>
                <a:lnTo>
                  <a:pt x="250" y="494"/>
                </a:lnTo>
                <a:lnTo>
                  <a:pt x="290" y="480"/>
                </a:lnTo>
                <a:lnTo>
                  <a:pt x="328" y="464"/>
                </a:lnTo>
                <a:lnTo>
                  <a:pt x="366" y="448"/>
                </a:lnTo>
                <a:lnTo>
                  <a:pt x="402" y="430"/>
                </a:lnTo>
                <a:lnTo>
                  <a:pt x="438" y="408"/>
                </a:lnTo>
                <a:lnTo>
                  <a:pt x="472" y="386"/>
                </a:lnTo>
                <a:lnTo>
                  <a:pt x="504" y="364"/>
                </a:lnTo>
                <a:lnTo>
                  <a:pt x="536" y="338"/>
                </a:lnTo>
                <a:lnTo>
                  <a:pt x="568" y="312"/>
                </a:lnTo>
                <a:lnTo>
                  <a:pt x="596" y="284"/>
                </a:lnTo>
                <a:lnTo>
                  <a:pt x="314" y="0"/>
                </a:lnTo>
                <a:lnTo>
                  <a:pt x="314" y="0"/>
                </a:lnTo>
                <a:lnTo>
                  <a:pt x="282" y="30"/>
                </a:lnTo>
                <a:lnTo>
                  <a:pt x="248" y="56"/>
                </a:lnTo>
                <a:lnTo>
                  <a:pt x="212" y="78"/>
                </a:lnTo>
                <a:lnTo>
                  <a:pt x="172" y="96"/>
                </a:lnTo>
                <a:lnTo>
                  <a:pt x="132" y="112"/>
                </a:lnTo>
                <a:lnTo>
                  <a:pt x="90" y="122"/>
                </a:lnTo>
                <a:lnTo>
                  <a:pt x="46" y="128"/>
                </a:lnTo>
                <a:lnTo>
                  <a:pt x="0" y="132"/>
                </a:lnTo>
                <a:lnTo>
                  <a:pt x="0" y="132"/>
                </a:lnTo>
                <a:close/>
              </a:path>
            </a:pathLst>
          </a:custGeom>
          <a:solidFill>
            <a:srgbClr val="0D65A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11"/>
          <p:cNvSpPr>
            <a:spLocks/>
          </p:cNvSpPr>
          <p:nvPr/>
        </p:nvSpPr>
        <p:spPr bwMode="auto">
          <a:xfrm>
            <a:off x="7219681" y="3081766"/>
            <a:ext cx="515508" cy="460152"/>
          </a:xfrm>
          <a:custGeom>
            <a:avLst/>
            <a:gdLst>
              <a:gd name="T0" fmla="*/ 282 w 596"/>
              <a:gd name="T1" fmla="*/ 0 h 532"/>
              <a:gd name="T2" fmla="*/ 0 w 596"/>
              <a:gd name="T3" fmla="*/ 284 h 532"/>
              <a:gd name="T4" fmla="*/ 0 w 596"/>
              <a:gd name="T5" fmla="*/ 284 h 532"/>
              <a:gd name="T6" fmla="*/ 28 w 596"/>
              <a:gd name="T7" fmla="*/ 312 h 532"/>
              <a:gd name="T8" fmla="*/ 60 w 596"/>
              <a:gd name="T9" fmla="*/ 338 h 532"/>
              <a:gd name="T10" fmla="*/ 92 w 596"/>
              <a:gd name="T11" fmla="*/ 364 h 532"/>
              <a:gd name="T12" fmla="*/ 124 w 596"/>
              <a:gd name="T13" fmla="*/ 386 h 532"/>
              <a:gd name="T14" fmla="*/ 158 w 596"/>
              <a:gd name="T15" fmla="*/ 408 h 532"/>
              <a:gd name="T16" fmla="*/ 194 w 596"/>
              <a:gd name="T17" fmla="*/ 430 h 532"/>
              <a:gd name="T18" fmla="*/ 230 w 596"/>
              <a:gd name="T19" fmla="*/ 448 h 532"/>
              <a:gd name="T20" fmla="*/ 268 w 596"/>
              <a:gd name="T21" fmla="*/ 464 h 532"/>
              <a:gd name="T22" fmla="*/ 306 w 596"/>
              <a:gd name="T23" fmla="*/ 480 h 532"/>
              <a:gd name="T24" fmla="*/ 346 w 596"/>
              <a:gd name="T25" fmla="*/ 494 h 532"/>
              <a:gd name="T26" fmla="*/ 386 w 596"/>
              <a:gd name="T27" fmla="*/ 504 h 532"/>
              <a:gd name="T28" fmla="*/ 426 w 596"/>
              <a:gd name="T29" fmla="*/ 514 h 532"/>
              <a:gd name="T30" fmla="*/ 468 w 596"/>
              <a:gd name="T31" fmla="*/ 522 h 532"/>
              <a:gd name="T32" fmla="*/ 510 w 596"/>
              <a:gd name="T33" fmla="*/ 526 h 532"/>
              <a:gd name="T34" fmla="*/ 552 w 596"/>
              <a:gd name="T35" fmla="*/ 530 h 532"/>
              <a:gd name="T36" fmla="*/ 596 w 596"/>
              <a:gd name="T37" fmla="*/ 532 h 532"/>
              <a:gd name="T38" fmla="*/ 596 w 596"/>
              <a:gd name="T39" fmla="*/ 132 h 532"/>
              <a:gd name="T40" fmla="*/ 596 w 596"/>
              <a:gd name="T41" fmla="*/ 132 h 532"/>
              <a:gd name="T42" fmla="*/ 550 w 596"/>
              <a:gd name="T43" fmla="*/ 128 h 532"/>
              <a:gd name="T44" fmla="*/ 506 w 596"/>
              <a:gd name="T45" fmla="*/ 122 h 532"/>
              <a:gd name="T46" fmla="*/ 464 w 596"/>
              <a:gd name="T47" fmla="*/ 112 h 532"/>
              <a:gd name="T48" fmla="*/ 424 w 596"/>
              <a:gd name="T49" fmla="*/ 96 h 532"/>
              <a:gd name="T50" fmla="*/ 384 w 596"/>
              <a:gd name="T51" fmla="*/ 78 h 532"/>
              <a:gd name="T52" fmla="*/ 348 w 596"/>
              <a:gd name="T53" fmla="*/ 56 h 532"/>
              <a:gd name="T54" fmla="*/ 314 w 596"/>
              <a:gd name="T55" fmla="*/ 30 h 532"/>
              <a:gd name="T56" fmla="*/ 282 w 596"/>
              <a:gd name="T57" fmla="*/ 0 h 532"/>
              <a:gd name="T58" fmla="*/ 282 w 596"/>
              <a:gd name="T59" fmla="*/ 0 h 5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96" h="532">
                <a:moveTo>
                  <a:pt x="282" y="0"/>
                </a:moveTo>
                <a:lnTo>
                  <a:pt x="0" y="284"/>
                </a:lnTo>
                <a:lnTo>
                  <a:pt x="0" y="284"/>
                </a:lnTo>
                <a:lnTo>
                  <a:pt x="28" y="312"/>
                </a:lnTo>
                <a:lnTo>
                  <a:pt x="60" y="338"/>
                </a:lnTo>
                <a:lnTo>
                  <a:pt x="92" y="364"/>
                </a:lnTo>
                <a:lnTo>
                  <a:pt x="124" y="386"/>
                </a:lnTo>
                <a:lnTo>
                  <a:pt x="158" y="408"/>
                </a:lnTo>
                <a:lnTo>
                  <a:pt x="194" y="430"/>
                </a:lnTo>
                <a:lnTo>
                  <a:pt x="230" y="448"/>
                </a:lnTo>
                <a:lnTo>
                  <a:pt x="268" y="464"/>
                </a:lnTo>
                <a:lnTo>
                  <a:pt x="306" y="480"/>
                </a:lnTo>
                <a:lnTo>
                  <a:pt x="346" y="494"/>
                </a:lnTo>
                <a:lnTo>
                  <a:pt x="386" y="504"/>
                </a:lnTo>
                <a:lnTo>
                  <a:pt x="426" y="514"/>
                </a:lnTo>
                <a:lnTo>
                  <a:pt x="468" y="522"/>
                </a:lnTo>
                <a:lnTo>
                  <a:pt x="510" y="526"/>
                </a:lnTo>
                <a:lnTo>
                  <a:pt x="552" y="530"/>
                </a:lnTo>
                <a:lnTo>
                  <a:pt x="596" y="532"/>
                </a:lnTo>
                <a:lnTo>
                  <a:pt x="596" y="132"/>
                </a:lnTo>
                <a:lnTo>
                  <a:pt x="596" y="132"/>
                </a:lnTo>
                <a:lnTo>
                  <a:pt x="550" y="128"/>
                </a:lnTo>
                <a:lnTo>
                  <a:pt x="506" y="122"/>
                </a:lnTo>
                <a:lnTo>
                  <a:pt x="464" y="112"/>
                </a:lnTo>
                <a:lnTo>
                  <a:pt x="424" y="96"/>
                </a:lnTo>
                <a:lnTo>
                  <a:pt x="384" y="78"/>
                </a:lnTo>
                <a:lnTo>
                  <a:pt x="348" y="56"/>
                </a:lnTo>
                <a:lnTo>
                  <a:pt x="314" y="30"/>
                </a:lnTo>
                <a:lnTo>
                  <a:pt x="282" y="0"/>
                </a:lnTo>
                <a:lnTo>
                  <a:pt x="282" y="0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" name="Freeform 12"/>
          <p:cNvSpPr>
            <a:spLocks/>
          </p:cNvSpPr>
          <p:nvPr/>
        </p:nvSpPr>
        <p:spPr bwMode="auto">
          <a:xfrm>
            <a:off x="7005174" y="2294665"/>
            <a:ext cx="458422" cy="517238"/>
          </a:xfrm>
          <a:custGeom>
            <a:avLst/>
            <a:gdLst>
              <a:gd name="T0" fmla="*/ 530 w 530"/>
              <a:gd name="T1" fmla="*/ 284 h 598"/>
              <a:gd name="T2" fmla="*/ 248 w 530"/>
              <a:gd name="T3" fmla="*/ 0 h 598"/>
              <a:gd name="T4" fmla="*/ 248 w 530"/>
              <a:gd name="T5" fmla="*/ 0 h 598"/>
              <a:gd name="T6" fmla="*/ 220 w 530"/>
              <a:gd name="T7" fmla="*/ 30 h 598"/>
              <a:gd name="T8" fmla="*/ 192 w 530"/>
              <a:gd name="T9" fmla="*/ 60 h 598"/>
              <a:gd name="T10" fmla="*/ 168 w 530"/>
              <a:gd name="T11" fmla="*/ 92 h 598"/>
              <a:gd name="T12" fmla="*/ 144 w 530"/>
              <a:gd name="T13" fmla="*/ 126 h 598"/>
              <a:gd name="T14" fmla="*/ 122 w 530"/>
              <a:gd name="T15" fmla="*/ 160 h 598"/>
              <a:gd name="T16" fmla="*/ 102 w 530"/>
              <a:gd name="T17" fmla="*/ 194 h 598"/>
              <a:gd name="T18" fmla="*/ 84 w 530"/>
              <a:gd name="T19" fmla="*/ 232 h 598"/>
              <a:gd name="T20" fmla="*/ 66 w 530"/>
              <a:gd name="T21" fmla="*/ 268 h 598"/>
              <a:gd name="T22" fmla="*/ 52 w 530"/>
              <a:gd name="T23" fmla="*/ 306 h 598"/>
              <a:gd name="T24" fmla="*/ 38 w 530"/>
              <a:gd name="T25" fmla="*/ 346 h 598"/>
              <a:gd name="T26" fmla="*/ 26 w 530"/>
              <a:gd name="T27" fmla="*/ 386 h 598"/>
              <a:gd name="T28" fmla="*/ 18 w 530"/>
              <a:gd name="T29" fmla="*/ 426 h 598"/>
              <a:gd name="T30" fmla="*/ 10 w 530"/>
              <a:gd name="T31" fmla="*/ 468 h 598"/>
              <a:gd name="T32" fmla="*/ 4 w 530"/>
              <a:gd name="T33" fmla="*/ 510 h 598"/>
              <a:gd name="T34" fmla="*/ 2 w 530"/>
              <a:gd name="T35" fmla="*/ 554 h 598"/>
              <a:gd name="T36" fmla="*/ 0 w 530"/>
              <a:gd name="T37" fmla="*/ 598 h 598"/>
              <a:gd name="T38" fmla="*/ 400 w 530"/>
              <a:gd name="T39" fmla="*/ 598 h 598"/>
              <a:gd name="T40" fmla="*/ 400 w 530"/>
              <a:gd name="T41" fmla="*/ 598 h 598"/>
              <a:gd name="T42" fmla="*/ 402 w 530"/>
              <a:gd name="T43" fmla="*/ 552 h 598"/>
              <a:gd name="T44" fmla="*/ 410 w 530"/>
              <a:gd name="T45" fmla="*/ 508 h 598"/>
              <a:gd name="T46" fmla="*/ 420 w 530"/>
              <a:gd name="T47" fmla="*/ 466 h 598"/>
              <a:gd name="T48" fmla="*/ 434 w 530"/>
              <a:gd name="T49" fmla="*/ 424 h 598"/>
              <a:gd name="T50" fmla="*/ 454 w 530"/>
              <a:gd name="T51" fmla="*/ 386 h 598"/>
              <a:gd name="T52" fmla="*/ 476 w 530"/>
              <a:gd name="T53" fmla="*/ 348 h 598"/>
              <a:gd name="T54" fmla="*/ 502 w 530"/>
              <a:gd name="T55" fmla="*/ 314 h 598"/>
              <a:gd name="T56" fmla="*/ 530 w 530"/>
              <a:gd name="T57" fmla="*/ 284 h 598"/>
              <a:gd name="T58" fmla="*/ 530 w 530"/>
              <a:gd name="T59" fmla="*/ 284 h 5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30" h="598">
                <a:moveTo>
                  <a:pt x="530" y="284"/>
                </a:moveTo>
                <a:lnTo>
                  <a:pt x="248" y="0"/>
                </a:lnTo>
                <a:lnTo>
                  <a:pt x="248" y="0"/>
                </a:lnTo>
                <a:lnTo>
                  <a:pt x="220" y="30"/>
                </a:lnTo>
                <a:lnTo>
                  <a:pt x="192" y="60"/>
                </a:lnTo>
                <a:lnTo>
                  <a:pt x="168" y="92"/>
                </a:lnTo>
                <a:lnTo>
                  <a:pt x="144" y="126"/>
                </a:lnTo>
                <a:lnTo>
                  <a:pt x="122" y="160"/>
                </a:lnTo>
                <a:lnTo>
                  <a:pt x="102" y="194"/>
                </a:lnTo>
                <a:lnTo>
                  <a:pt x="84" y="232"/>
                </a:lnTo>
                <a:lnTo>
                  <a:pt x="66" y="268"/>
                </a:lnTo>
                <a:lnTo>
                  <a:pt x="52" y="306"/>
                </a:lnTo>
                <a:lnTo>
                  <a:pt x="38" y="346"/>
                </a:lnTo>
                <a:lnTo>
                  <a:pt x="26" y="386"/>
                </a:lnTo>
                <a:lnTo>
                  <a:pt x="18" y="426"/>
                </a:lnTo>
                <a:lnTo>
                  <a:pt x="10" y="468"/>
                </a:lnTo>
                <a:lnTo>
                  <a:pt x="4" y="510"/>
                </a:lnTo>
                <a:lnTo>
                  <a:pt x="2" y="554"/>
                </a:lnTo>
                <a:lnTo>
                  <a:pt x="0" y="598"/>
                </a:lnTo>
                <a:lnTo>
                  <a:pt x="400" y="598"/>
                </a:lnTo>
                <a:lnTo>
                  <a:pt x="400" y="598"/>
                </a:lnTo>
                <a:lnTo>
                  <a:pt x="402" y="552"/>
                </a:lnTo>
                <a:lnTo>
                  <a:pt x="410" y="508"/>
                </a:lnTo>
                <a:lnTo>
                  <a:pt x="420" y="466"/>
                </a:lnTo>
                <a:lnTo>
                  <a:pt x="434" y="424"/>
                </a:lnTo>
                <a:lnTo>
                  <a:pt x="454" y="386"/>
                </a:lnTo>
                <a:lnTo>
                  <a:pt x="476" y="348"/>
                </a:lnTo>
                <a:lnTo>
                  <a:pt x="502" y="314"/>
                </a:lnTo>
                <a:lnTo>
                  <a:pt x="530" y="284"/>
                </a:lnTo>
                <a:lnTo>
                  <a:pt x="530" y="284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Freeform 13"/>
          <p:cNvSpPr>
            <a:spLocks/>
          </p:cNvSpPr>
          <p:nvPr/>
        </p:nvSpPr>
        <p:spPr bwMode="auto">
          <a:xfrm>
            <a:off x="7005174" y="2811903"/>
            <a:ext cx="458422" cy="515508"/>
          </a:xfrm>
          <a:custGeom>
            <a:avLst/>
            <a:gdLst>
              <a:gd name="T0" fmla="*/ 400 w 530"/>
              <a:gd name="T1" fmla="*/ 0 h 596"/>
              <a:gd name="T2" fmla="*/ 0 w 530"/>
              <a:gd name="T3" fmla="*/ 0 h 596"/>
              <a:gd name="T4" fmla="*/ 0 w 530"/>
              <a:gd name="T5" fmla="*/ 0 h 596"/>
              <a:gd name="T6" fmla="*/ 2 w 530"/>
              <a:gd name="T7" fmla="*/ 42 h 596"/>
              <a:gd name="T8" fmla="*/ 4 w 530"/>
              <a:gd name="T9" fmla="*/ 86 h 596"/>
              <a:gd name="T10" fmla="*/ 10 w 530"/>
              <a:gd name="T11" fmla="*/ 128 h 596"/>
              <a:gd name="T12" fmla="*/ 18 w 530"/>
              <a:gd name="T13" fmla="*/ 170 h 596"/>
              <a:gd name="T14" fmla="*/ 26 w 530"/>
              <a:gd name="T15" fmla="*/ 210 h 596"/>
              <a:gd name="T16" fmla="*/ 38 w 530"/>
              <a:gd name="T17" fmla="*/ 250 h 596"/>
              <a:gd name="T18" fmla="*/ 52 w 530"/>
              <a:gd name="T19" fmla="*/ 290 h 596"/>
              <a:gd name="T20" fmla="*/ 66 w 530"/>
              <a:gd name="T21" fmla="*/ 328 h 596"/>
              <a:gd name="T22" fmla="*/ 84 w 530"/>
              <a:gd name="T23" fmla="*/ 364 h 596"/>
              <a:gd name="T24" fmla="*/ 102 w 530"/>
              <a:gd name="T25" fmla="*/ 402 h 596"/>
              <a:gd name="T26" fmla="*/ 122 w 530"/>
              <a:gd name="T27" fmla="*/ 436 h 596"/>
              <a:gd name="T28" fmla="*/ 144 w 530"/>
              <a:gd name="T29" fmla="*/ 470 h 596"/>
              <a:gd name="T30" fmla="*/ 168 w 530"/>
              <a:gd name="T31" fmla="*/ 504 h 596"/>
              <a:gd name="T32" fmla="*/ 192 w 530"/>
              <a:gd name="T33" fmla="*/ 536 h 596"/>
              <a:gd name="T34" fmla="*/ 220 w 530"/>
              <a:gd name="T35" fmla="*/ 566 h 596"/>
              <a:gd name="T36" fmla="*/ 248 w 530"/>
              <a:gd name="T37" fmla="*/ 596 h 596"/>
              <a:gd name="T38" fmla="*/ 530 w 530"/>
              <a:gd name="T39" fmla="*/ 312 h 596"/>
              <a:gd name="T40" fmla="*/ 530 w 530"/>
              <a:gd name="T41" fmla="*/ 312 h 596"/>
              <a:gd name="T42" fmla="*/ 502 w 530"/>
              <a:gd name="T43" fmla="*/ 282 h 596"/>
              <a:gd name="T44" fmla="*/ 476 w 530"/>
              <a:gd name="T45" fmla="*/ 248 h 596"/>
              <a:gd name="T46" fmla="*/ 454 w 530"/>
              <a:gd name="T47" fmla="*/ 210 h 596"/>
              <a:gd name="T48" fmla="*/ 434 w 530"/>
              <a:gd name="T49" fmla="*/ 172 h 596"/>
              <a:gd name="T50" fmla="*/ 420 w 530"/>
              <a:gd name="T51" fmla="*/ 130 h 596"/>
              <a:gd name="T52" fmla="*/ 410 w 530"/>
              <a:gd name="T53" fmla="*/ 88 h 596"/>
              <a:gd name="T54" fmla="*/ 402 w 530"/>
              <a:gd name="T55" fmla="*/ 44 h 596"/>
              <a:gd name="T56" fmla="*/ 400 w 530"/>
              <a:gd name="T57" fmla="*/ 0 h 596"/>
              <a:gd name="T58" fmla="*/ 400 w 530"/>
              <a:gd name="T59" fmla="*/ 0 h 5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30" h="596">
                <a:moveTo>
                  <a:pt x="400" y="0"/>
                </a:moveTo>
                <a:lnTo>
                  <a:pt x="0" y="0"/>
                </a:lnTo>
                <a:lnTo>
                  <a:pt x="0" y="0"/>
                </a:lnTo>
                <a:lnTo>
                  <a:pt x="2" y="42"/>
                </a:lnTo>
                <a:lnTo>
                  <a:pt x="4" y="86"/>
                </a:lnTo>
                <a:lnTo>
                  <a:pt x="10" y="128"/>
                </a:lnTo>
                <a:lnTo>
                  <a:pt x="18" y="170"/>
                </a:lnTo>
                <a:lnTo>
                  <a:pt x="26" y="210"/>
                </a:lnTo>
                <a:lnTo>
                  <a:pt x="38" y="250"/>
                </a:lnTo>
                <a:lnTo>
                  <a:pt x="52" y="290"/>
                </a:lnTo>
                <a:lnTo>
                  <a:pt x="66" y="328"/>
                </a:lnTo>
                <a:lnTo>
                  <a:pt x="84" y="364"/>
                </a:lnTo>
                <a:lnTo>
                  <a:pt x="102" y="402"/>
                </a:lnTo>
                <a:lnTo>
                  <a:pt x="122" y="436"/>
                </a:lnTo>
                <a:lnTo>
                  <a:pt x="144" y="470"/>
                </a:lnTo>
                <a:lnTo>
                  <a:pt x="168" y="504"/>
                </a:lnTo>
                <a:lnTo>
                  <a:pt x="192" y="536"/>
                </a:lnTo>
                <a:lnTo>
                  <a:pt x="220" y="566"/>
                </a:lnTo>
                <a:lnTo>
                  <a:pt x="248" y="596"/>
                </a:lnTo>
                <a:lnTo>
                  <a:pt x="530" y="312"/>
                </a:lnTo>
                <a:lnTo>
                  <a:pt x="530" y="312"/>
                </a:lnTo>
                <a:lnTo>
                  <a:pt x="502" y="282"/>
                </a:lnTo>
                <a:lnTo>
                  <a:pt x="476" y="248"/>
                </a:lnTo>
                <a:lnTo>
                  <a:pt x="454" y="210"/>
                </a:lnTo>
                <a:lnTo>
                  <a:pt x="434" y="172"/>
                </a:lnTo>
                <a:lnTo>
                  <a:pt x="420" y="130"/>
                </a:lnTo>
                <a:lnTo>
                  <a:pt x="410" y="88"/>
                </a:lnTo>
                <a:lnTo>
                  <a:pt x="402" y="44"/>
                </a:lnTo>
                <a:lnTo>
                  <a:pt x="400" y="0"/>
                </a:lnTo>
                <a:lnTo>
                  <a:pt x="400" y="0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Freeform 14"/>
          <p:cNvSpPr>
            <a:spLocks/>
          </p:cNvSpPr>
          <p:nvPr/>
        </p:nvSpPr>
        <p:spPr bwMode="auto">
          <a:xfrm>
            <a:off x="7351153" y="2427867"/>
            <a:ext cx="768073" cy="768073"/>
          </a:xfrm>
          <a:custGeom>
            <a:avLst/>
            <a:gdLst>
              <a:gd name="T0" fmla="*/ 444 w 888"/>
              <a:gd name="T1" fmla="*/ 0 h 888"/>
              <a:gd name="T2" fmla="*/ 354 w 888"/>
              <a:gd name="T3" fmla="*/ 8 h 888"/>
              <a:gd name="T4" fmla="*/ 272 w 888"/>
              <a:gd name="T5" fmla="*/ 34 h 888"/>
              <a:gd name="T6" fmla="*/ 196 w 888"/>
              <a:gd name="T7" fmla="*/ 74 h 888"/>
              <a:gd name="T8" fmla="*/ 130 w 888"/>
              <a:gd name="T9" fmla="*/ 130 h 888"/>
              <a:gd name="T10" fmla="*/ 102 w 888"/>
              <a:gd name="T11" fmla="*/ 160 h 888"/>
              <a:gd name="T12" fmla="*/ 54 w 888"/>
              <a:gd name="T13" fmla="*/ 232 h 888"/>
              <a:gd name="T14" fmla="*/ 20 w 888"/>
              <a:gd name="T15" fmla="*/ 312 h 888"/>
              <a:gd name="T16" fmla="*/ 2 w 888"/>
              <a:gd name="T17" fmla="*/ 398 h 888"/>
              <a:gd name="T18" fmla="*/ 0 w 888"/>
              <a:gd name="T19" fmla="*/ 444 h 888"/>
              <a:gd name="T20" fmla="*/ 10 w 888"/>
              <a:gd name="T21" fmla="*/ 532 h 888"/>
              <a:gd name="T22" fmla="*/ 34 w 888"/>
              <a:gd name="T23" fmla="*/ 616 h 888"/>
              <a:gd name="T24" fmla="*/ 76 w 888"/>
              <a:gd name="T25" fmla="*/ 692 h 888"/>
              <a:gd name="T26" fmla="*/ 130 w 888"/>
              <a:gd name="T27" fmla="*/ 756 h 888"/>
              <a:gd name="T28" fmla="*/ 162 w 888"/>
              <a:gd name="T29" fmla="*/ 786 h 888"/>
              <a:gd name="T30" fmla="*/ 232 w 888"/>
              <a:gd name="T31" fmla="*/ 834 h 888"/>
              <a:gd name="T32" fmla="*/ 312 w 888"/>
              <a:gd name="T33" fmla="*/ 868 h 888"/>
              <a:gd name="T34" fmla="*/ 398 w 888"/>
              <a:gd name="T35" fmla="*/ 884 h 888"/>
              <a:gd name="T36" fmla="*/ 444 w 888"/>
              <a:gd name="T37" fmla="*/ 888 h 888"/>
              <a:gd name="T38" fmla="*/ 534 w 888"/>
              <a:gd name="T39" fmla="*/ 878 h 888"/>
              <a:gd name="T40" fmla="*/ 616 w 888"/>
              <a:gd name="T41" fmla="*/ 852 h 888"/>
              <a:gd name="T42" fmla="*/ 692 w 888"/>
              <a:gd name="T43" fmla="*/ 812 h 888"/>
              <a:gd name="T44" fmla="*/ 758 w 888"/>
              <a:gd name="T45" fmla="*/ 756 h 888"/>
              <a:gd name="T46" fmla="*/ 786 w 888"/>
              <a:gd name="T47" fmla="*/ 726 h 888"/>
              <a:gd name="T48" fmla="*/ 834 w 888"/>
              <a:gd name="T49" fmla="*/ 654 h 888"/>
              <a:gd name="T50" fmla="*/ 868 w 888"/>
              <a:gd name="T51" fmla="*/ 574 h 888"/>
              <a:gd name="T52" fmla="*/ 886 w 888"/>
              <a:gd name="T53" fmla="*/ 488 h 888"/>
              <a:gd name="T54" fmla="*/ 888 w 888"/>
              <a:gd name="T55" fmla="*/ 444 h 888"/>
              <a:gd name="T56" fmla="*/ 878 w 888"/>
              <a:gd name="T57" fmla="*/ 354 h 888"/>
              <a:gd name="T58" fmla="*/ 854 w 888"/>
              <a:gd name="T59" fmla="*/ 270 h 888"/>
              <a:gd name="T60" fmla="*/ 812 w 888"/>
              <a:gd name="T61" fmla="*/ 194 h 888"/>
              <a:gd name="T62" fmla="*/ 758 w 888"/>
              <a:gd name="T63" fmla="*/ 130 h 888"/>
              <a:gd name="T64" fmla="*/ 726 w 888"/>
              <a:gd name="T65" fmla="*/ 100 h 888"/>
              <a:gd name="T66" fmla="*/ 656 w 888"/>
              <a:gd name="T67" fmla="*/ 52 h 888"/>
              <a:gd name="T68" fmla="*/ 576 w 888"/>
              <a:gd name="T69" fmla="*/ 18 h 888"/>
              <a:gd name="T70" fmla="*/ 490 w 888"/>
              <a:gd name="T71" fmla="*/ 2 h 888"/>
              <a:gd name="T72" fmla="*/ 444 w 888"/>
              <a:gd name="T73" fmla="*/ 0 h 8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88" h="888">
                <a:moveTo>
                  <a:pt x="444" y="0"/>
                </a:moveTo>
                <a:lnTo>
                  <a:pt x="444" y="0"/>
                </a:lnTo>
                <a:lnTo>
                  <a:pt x="398" y="2"/>
                </a:lnTo>
                <a:lnTo>
                  <a:pt x="354" y="8"/>
                </a:lnTo>
                <a:lnTo>
                  <a:pt x="312" y="18"/>
                </a:lnTo>
                <a:lnTo>
                  <a:pt x="272" y="34"/>
                </a:lnTo>
                <a:lnTo>
                  <a:pt x="232" y="52"/>
                </a:lnTo>
                <a:lnTo>
                  <a:pt x="196" y="74"/>
                </a:lnTo>
                <a:lnTo>
                  <a:pt x="162" y="100"/>
                </a:lnTo>
                <a:lnTo>
                  <a:pt x="130" y="130"/>
                </a:lnTo>
                <a:lnTo>
                  <a:pt x="130" y="130"/>
                </a:lnTo>
                <a:lnTo>
                  <a:pt x="102" y="160"/>
                </a:lnTo>
                <a:lnTo>
                  <a:pt x="76" y="194"/>
                </a:lnTo>
                <a:lnTo>
                  <a:pt x="54" y="232"/>
                </a:lnTo>
                <a:lnTo>
                  <a:pt x="34" y="270"/>
                </a:lnTo>
                <a:lnTo>
                  <a:pt x="20" y="312"/>
                </a:lnTo>
                <a:lnTo>
                  <a:pt x="10" y="354"/>
                </a:lnTo>
                <a:lnTo>
                  <a:pt x="2" y="398"/>
                </a:lnTo>
                <a:lnTo>
                  <a:pt x="0" y="444"/>
                </a:lnTo>
                <a:lnTo>
                  <a:pt x="0" y="444"/>
                </a:lnTo>
                <a:lnTo>
                  <a:pt x="2" y="488"/>
                </a:lnTo>
                <a:lnTo>
                  <a:pt x="10" y="532"/>
                </a:lnTo>
                <a:lnTo>
                  <a:pt x="20" y="574"/>
                </a:lnTo>
                <a:lnTo>
                  <a:pt x="34" y="616"/>
                </a:lnTo>
                <a:lnTo>
                  <a:pt x="54" y="654"/>
                </a:lnTo>
                <a:lnTo>
                  <a:pt x="76" y="692"/>
                </a:lnTo>
                <a:lnTo>
                  <a:pt x="102" y="726"/>
                </a:lnTo>
                <a:lnTo>
                  <a:pt x="130" y="756"/>
                </a:lnTo>
                <a:lnTo>
                  <a:pt x="130" y="756"/>
                </a:lnTo>
                <a:lnTo>
                  <a:pt x="162" y="786"/>
                </a:lnTo>
                <a:lnTo>
                  <a:pt x="196" y="812"/>
                </a:lnTo>
                <a:lnTo>
                  <a:pt x="232" y="834"/>
                </a:lnTo>
                <a:lnTo>
                  <a:pt x="272" y="852"/>
                </a:lnTo>
                <a:lnTo>
                  <a:pt x="312" y="868"/>
                </a:lnTo>
                <a:lnTo>
                  <a:pt x="354" y="878"/>
                </a:lnTo>
                <a:lnTo>
                  <a:pt x="398" y="884"/>
                </a:lnTo>
                <a:lnTo>
                  <a:pt x="444" y="888"/>
                </a:lnTo>
                <a:lnTo>
                  <a:pt x="444" y="888"/>
                </a:lnTo>
                <a:lnTo>
                  <a:pt x="490" y="884"/>
                </a:lnTo>
                <a:lnTo>
                  <a:pt x="534" y="878"/>
                </a:lnTo>
                <a:lnTo>
                  <a:pt x="576" y="868"/>
                </a:lnTo>
                <a:lnTo>
                  <a:pt x="616" y="852"/>
                </a:lnTo>
                <a:lnTo>
                  <a:pt x="656" y="834"/>
                </a:lnTo>
                <a:lnTo>
                  <a:pt x="692" y="812"/>
                </a:lnTo>
                <a:lnTo>
                  <a:pt x="726" y="786"/>
                </a:lnTo>
                <a:lnTo>
                  <a:pt x="758" y="756"/>
                </a:lnTo>
                <a:lnTo>
                  <a:pt x="758" y="756"/>
                </a:lnTo>
                <a:lnTo>
                  <a:pt x="786" y="726"/>
                </a:lnTo>
                <a:lnTo>
                  <a:pt x="812" y="692"/>
                </a:lnTo>
                <a:lnTo>
                  <a:pt x="834" y="654"/>
                </a:lnTo>
                <a:lnTo>
                  <a:pt x="854" y="616"/>
                </a:lnTo>
                <a:lnTo>
                  <a:pt x="868" y="574"/>
                </a:lnTo>
                <a:lnTo>
                  <a:pt x="878" y="532"/>
                </a:lnTo>
                <a:lnTo>
                  <a:pt x="886" y="488"/>
                </a:lnTo>
                <a:lnTo>
                  <a:pt x="888" y="444"/>
                </a:lnTo>
                <a:lnTo>
                  <a:pt x="888" y="444"/>
                </a:lnTo>
                <a:lnTo>
                  <a:pt x="886" y="398"/>
                </a:lnTo>
                <a:lnTo>
                  <a:pt x="878" y="354"/>
                </a:lnTo>
                <a:lnTo>
                  <a:pt x="868" y="312"/>
                </a:lnTo>
                <a:lnTo>
                  <a:pt x="854" y="270"/>
                </a:lnTo>
                <a:lnTo>
                  <a:pt x="834" y="232"/>
                </a:lnTo>
                <a:lnTo>
                  <a:pt x="812" y="194"/>
                </a:lnTo>
                <a:lnTo>
                  <a:pt x="786" y="160"/>
                </a:lnTo>
                <a:lnTo>
                  <a:pt x="758" y="130"/>
                </a:lnTo>
                <a:lnTo>
                  <a:pt x="758" y="130"/>
                </a:lnTo>
                <a:lnTo>
                  <a:pt x="726" y="100"/>
                </a:lnTo>
                <a:lnTo>
                  <a:pt x="692" y="74"/>
                </a:lnTo>
                <a:lnTo>
                  <a:pt x="656" y="52"/>
                </a:lnTo>
                <a:lnTo>
                  <a:pt x="616" y="34"/>
                </a:lnTo>
                <a:lnTo>
                  <a:pt x="576" y="18"/>
                </a:lnTo>
                <a:lnTo>
                  <a:pt x="534" y="8"/>
                </a:lnTo>
                <a:lnTo>
                  <a:pt x="490" y="2"/>
                </a:lnTo>
                <a:lnTo>
                  <a:pt x="444" y="0"/>
                </a:lnTo>
                <a:lnTo>
                  <a:pt x="444" y="0"/>
                </a:lnTo>
                <a:close/>
              </a:path>
            </a:pathLst>
          </a:custGeom>
          <a:noFill/>
          <a:ln w="28575">
            <a:solidFill>
              <a:srgbClr val="0D65AC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Oval 70"/>
          <p:cNvSpPr/>
          <p:nvPr/>
        </p:nvSpPr>
        <p:spPr>
          <a:xfrm>
            <a:off x="7005174" y="2081888"/>
            <a:ext cx="1471841" cy="1471841"/>
          </a:xfrm>
          <a:prstGeom prst="ellipse">
            <a:avLst/>
          </a:prstGeom>
          <a:noFill/>
          <a:ln>
            <a:solidFill>
              <a:srgbClr val="0D65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3" name="Group 22"/>
          <p:cNvGrpSpPr/>
          <p:nvPr/>
        </p:nvGrpSpPr>
        <p:grpSpPr>
          <a:xfrm>
            <a:off x="580148" y="2012692"/>
            <a:ext cx="1598422" cy="1598422"/>
            <a:chOff x="-3200400" y="2087563"/>
            <a:chExt cx="2933700" cy="2933700"/>
          </a:xfrm>
          <a:effectLst/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-3200400" y="2087563"/>
              <a:ext cx="2933700" cy="2933700"/>
            </a:xfrm>
            <a:custGeom>
              <a:avLst/>
              <a:gdLst>
                <a:gd name="T0" fmla="*/ 832 w 1848"/>
                <a:gd name="T1" fmla="*/ 1842 h 1848"/>
                <a:gd name="T2" fmla="*/ 654 w 1848"/>
                <a:gd name="T3" fmla="*/ 1808 h 1848"/>
                <a:gd name="T4" fmla="*/ 488 w 1848"/>
                <a:gd name="T5" fmla="*/ 1738 h 1848"/>
                <a:gd name="T6" fmla="*/ 338 w 1848"/>
                <a:gd name="T7" fmla="*/ 1638 h 1848"/>
                <a:gd name="T8" fmla="*/ 238 w 1848"/>
                <a:gd name="T9" fmla="*/ 1542 h 1848"/>
                <a:gd name="T10" fmla="*/ 130 w 1848"/>
                <a:gd name="T11" fmla="*/ 1398 h 1848"/>
                <a:gd name="T12" fmla="*/ 54 w 1848"/>
                <a:gd name="T13" fmla="*/ 1234 h 1848"/>
                <a:gd name="T14" fmla="*/ 10 w 1848"/>
                <a:gd name="T15" fmla="*/ 1060 h 1848"/>
                <a:gd name="T16" fmla="*/ 0 w 1848"/>
                <a:gd name="T17" fmla="*/ 924 h 1848"/>
                <a:gd name="T18" fmla="*/ 18 w 1848"/>
                <a:gd name="T19" fmla="*/ 742 h 1848"/>
                <a:gd name="T20" fmla="*/ 70 w 1848"/>
                <a:gd name="T21" fmla="*/ 570 h 1848"/>
                <a:gd name="T22" fmla="*/ 154 w 1848"/>
                <a:gd name="T23" fmla="*/ 410 h 1848"/>
                <a:gd name="T24" fmla="*/ 270 w 1848"/>
                <a:gd name="T25" fmla="*/ 270 h 1848"/>
                <a:gd name="T26" fmla="*/ 374 w 1848"/>
                <a:gd name="T27" fmla="*/ 180 h 1848"/>
                <a:gd name="T28" fmla="*/ 530 w 1848"/>
                <a:gd name="T29" fmla="*/ 88 h 1848"/>
                <a:gd name="T30" fmla="*/ 698 w 1848"/>
                <a:gd name="T31" fmla="*/ 26 h 1848"/>
                <a:gd name="T32" fmla="*/ 878 w 1848"/>
                <a:gd name="T33" fmla="*/ 0 h 1848"/>
                <a:gd name="T34" fmla="*/ 1016 w 1848"/>
                <a:gd name="T35" fmla="*/ 4 h 1848"/>
                <a:gd name="T36" fmla="*/ 1194 w 1848"/>
                <a:gd name="T37" fmla="*/ 38 h 1848"/>
                <a:gd name="T38" fmla="*/ 1360 w 1848"/>
                <a:gd name="T39" fmla="*/ 108 h 1848"/>
                <a:gd name="T40" fmla="*/ 1510 w 1848"/>
                <a:gd name="T41" fmla="*/ 208 h 1848"/>
                <a:gd name="T42" fmla="*/ 1610 w 1848"/>
                <a:gd name="T43" fmla="*/ 304 h 1848"/>
                <a:gd name="T44" fmla="*/ 1718 w 1848"/>
                <a:gd name="T45" fmla="*/ 448 h 1848"/>
                <a:gd name="T46" fmla="*/ 1794 w 1848"/>
                <a:gd name="T47" fmla="*/ 612 h 1848"/>
                <a:gd name="T48" fmla="*/ 1838 w 1848"/>
                <a:gd name="T49" fmla="*/ 786 h 1848"/>
                <a:gd name="T50" fmla="*/ 1848 w 1848"/>
                <a:gd name="T51" fmla="*/ 924 h 1848"/>
                <a:gd name="T52" fmla="*/ 1830 w 1848"/>
                <a:gd name="T53" fmla="*/ 1104 h 1848"/>
                <a:gd name="T54" fmla="*/ 1778 w 1848"/>
                <a:gd name="T55" fmla="*/ 1276 h 1848"/>
                <a:gd name="T56" fmla="*/ 1694 w 1848"/>
                <a:gd name="T57" fmla="*/ 1436 h 1848"/>
                <a:gd name="T58" fmla="*/ 1578 w 1848"/>
                <a:gd name="T59" fmla="*/ 1576 h 1848"/>
                <a:gd name="T60" fmla="*/ 1474 w 1848"/>
                <a:gd name="T61" fmla="*/ 1666 h 1848"/>
                <a:gd name="T62" fmla="*/ 1318 w 1848"/>
                <a:gd name="T63" fmla="*/ 1758 h 1848"/>
                <a:gd name="T64" fmla="*/ 1150 w 1848"/>
                <a:gd name="T65" fmla="*/ 1820 h 1848"/>
                <a:gd name="T66" fmla="*/ 970 w 1848"/>
                <a:gd name="T67" fmla="*/ 1846 h 1848"/>
                <a:gd name="T68" fmla="*/ 924 w 1848"/>
                <a:gd name="T69" fmla="*/ 560 h 1848"/>
                <a:gd name="T70" fmla="*/ 784 w 1848"/>
                <a:gd name="T71" fmla="*/ 586 h 1848"/>
                <a:gd name="T72" fmla="*/ 666 w 1848"/>
                <a:gd name="T73" fmla="*/ 666 h 1848"/>
                <a:gd name="T74" fmla="*/ 602 w 1848"/>
                <a:gd name="T75" fmla="*/ 752 h 1848"/>
                <a:gd name="T76" fmla="*/ 562 w 1848"/>
                <a:gd name="T77" fmla="*/ 886 h 1848"/>
                <a:gd name="T78" fmla="*/ 568 w 1848"/>
                <a:gd name="T79" fmla="*/ 994 h 1848"/>
                <a:gd name="T80" fmla="*/ 622 w 1848"/>
                <a:gd name="T81" fmla="*/ 1124 h 1848"/>
                <a:gd name="T82" fmla="*/ 694 w 1848"/>
                <a:gd name="T83" fmla="*/ 1204 h 1848"/>
                <a:gd name="T84" fmla="*/ 818 w 1848"/>
                <a:gd name="T85" fmla="*/ 1272 h 1848"/>
                <a:gd name="T86" fmla="*/ 924 w 1848"/>
                <a:gd name="T87" fmla="*/ 1288 h 1848"/>
                <a:gd name="T88" fmla="*/ 1064 w 1848"/>
                <a:gd name="T89" fmla="*/ 1260 h 1848"/>
                <a:gd name="T90" fmla="*/ 1182 w 1848"/>
                <a:gd name="T91" fmla="*/ 1180 h 1848"/>
                <a:gd name="T92" fmla="*/ 1246 w 1848"/>
                <a:gd name="T93" fmla="*/ 1094 h 1848"/>
                <a:gd name="T94" fmla="*/ 1286 w 1848"/>
                <a:gd name="T95" fmla="*/ 960 h 1848"/>
                <a:gd name="T96" fmla="*/ 1282 w 1848"/>
                <a:gd name="T97" fmla="*/ 852 h 1848"/>
                <a:gd name="T98" fmla="*/ 1226 w 1848"/>
                <a:gd name="T99" fmla="*/ 722 h 1848"/>
                <a:gd name="T100" fmla="*/ 1154 w 1848"/>
                <a:gd name="T101" fmla="*/ 642 h 1848"/>
                <a:gd name="T102" fmla="*/ 1030 w 1848"/>
                <a:gd name="T103" fmla="*/ 574 h 1848"/>
                <a:gd name="T104" fmla="*/ 924 w 1848"/>
                <a:gd name="T105" fmla="*/ 560 h 1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48" h="1848">
                  <a:moveTo>
                    <a:pt x="924" y="1848"/>
                  </a:moveTo>
                  <a:lnTo>
                    <a:pt x="924" y="1848"/>
                  </a:lnTo>
                  <a:lnTo>
                    <a:pt x="878" y="1846"/>
                  </a:lnTo>
                  <a:lnTo>
                    <a:pt x="832" y="1842"/>
                  </a:lnTo>
                  <a:lnTo>
                    <a:pt x="788" y="1836"/>
                  </a:lnTo>
                  <a:lnTo>
                    <a:pt x="742" y="1830"/>
                  </a:lnTo>
                  <a:lnTo>
                    <a:pt x="698" y="1820"/>
                  </a:lnTo>
                  <a:lnTo>
                    <a:pt x="654" y="1808"/>
                  </a:lnTo>
                  <a:lnTo>
                    <a:pt x="612" y="1794"/>
                  </a:lnTo>
                  <a:lnTo>
                    <a:pt x="570" y="1778"/>
                  </a:lnTo>
                  <a:lnTo>
                    <a:pt x="530" y="1758"/>
                  </a:lnTo>
                  <a:lnTo>
                    <a:pt x="488" y="1738"/>
                  </a:lnTo>
                  <a:lnTo>
                    <a:pt x="450" y="1716"/>
                  </a:lnTo>
                  <a:lnTo>
                    <a:pt x="412" y="1692"/>
                  </a:lnTo>
                  <a:lnTo>
                    <a:pt x="374" y="1666"/>
                  </a:lnTo>
                  <a:lnTo>
                    <a:pt x="338" y="1638"/>
                  </a:lnTo>
                  <a:lnTo>
                    <a:pt x="304" y="1608"/>
                  </a:lnTo>
                  <a:lnTo>
                    <a:pt x="270" y="1576"/>
                  </a:lnTo>
                  <a:lnTo>
                    <a:pt x="270" y="1576"/>
                  </a:lnTo>
                  <a:lnTo>
                    <a:pt x="238" y="1542"/>
                  </a:lnTo>
                  <a:lnTo>
                    <a:pt x="208" y="1508"/>
                  </a:lnTo>
                  <a:lnTo>
                    <a:pt x="180" y="1472"/>
                  </a:lnTo>
                  <a:lnTo>
                    <a:pt x="154" y="1436"/>
                  </a:lnTo>
                  <a:lnTo>
                    <a:pt x="130" y="1398"/>
                  </a:lnTo>
                  <a:lnTo>
                    <a:pt x="108" y="1358"/>
                  </a:lnTo>
                  <a:lnTo>
                    <a:pt x="88" y="1318"/>
                  </a:lnTo>
                  <a:lnTo>
                    <a:pt x="70" y="1276"/>
                  </a:lnTo>
                  <a:lnTo>
                    <a:pt x="54" y="1234"/>
                  </a:lnTo>
                  <a:lnTo>
                    <a:pt x="40" y="1192"/>
                  </a:lnTo>
                  <a:lnTo>
                    <a:pt x="28" y="1148"/>
                  </a:lnTo>
                  <a:lnTo>
                    <a:pt x="18" y="1104"/>
                  </a:lnTo>
                  <a:lnTo>
                    <a:pt x="10" y="1060"/>
                  </a:lnTo>
                  <a:lnTo>
                    <a:pt x="4" y="1014"/>
                  </a:lnTo>
                  <a:lnTo>
                    <a:pt x="2" y="970"/>
                  </a:lnTo>
                  <a:lnTo>
                    <a:pt x="0" y="924"/>
                  </a:lnTo>
                  <a:lnTo>
                    <a:pt x="0" y="924"/>
                  </a:lnTo>
                  <a:lnTo>
                    <a:pt x="2" y="876"/>
                  </a:lnTo>
                  <a:lnTo>
                    <a:pt x="4" y="832"/>
                  </a:lnTo>
                  <a:lnTo>
                    <a:pt x="10" y="786"/>
                  </a:lnTo>
                  <a:lnTo>
                    <a:pt x="18" y="742"/>
                  </a:lnTo>
                  <a:lnTo>
                    <a:pt x="28" y="698"/>
                  </a:lnTo>
                  <a:lnTo>
                    <a:pt x="40" y="654"/>
                  </a:lnTo>
                  <a:lnTo>
                    <a:pt x="54" y="612"/>
                  </a:lnTo>
                  <a:lnTo>
                    <a:pt x="70" y="570"/>
                  </a:lnTo>
                  <a:lnTo>
                    <a:pt x="88" y="528"/>
                  </a:lnTo>
                  <a:lnTo>
                    <a:pt x="108" y="488"/>
                  </a:lnTo>
                  <a:lnTo>
                    <a:pt x="130" y="448"/>
                  </a:lnTo>
                  <a:lnTo>
                    <a:pt x="154" y="410"/>
                  </a:lnTo>
                  <a:lnTo>
                    <a:pt x="180" y="374"/>
                  </a:lnTo>
                  <a:lnTo>
                    <a:pt x="208" y="338"/>
                  </a:lnTo>
                  <a:lnTo>
                    <a:pt x="238" y="304"/>
                  </a:lnTo>
                  <a:lnTo>
                    <a:pt x="270" y="270"/>
                  </a:lnTo>
                  <a:lnTo>
                    <a:pt x="270" y="270"/>
                  </a:lnTo>
                  <a:lnTo>
                    <a:pt x="304" y="238"/>
                  </a:lnTo>
                  <a:lnTo>
                    <a:pt x="338" y="208"/>
                  </a:lnTo>
                  <a:lnTo>
                    <a:pt x="374" y="180"/>
                  </a:lnTo>
                  <a:lnTo>
                    <a:pt x="412" y="154"/>
                  </a:lnTo>
                  <a:lnTo>
                    <a:pt x="450" y="130"/>
                  </a:lnTo>
                  <a:lnTo>
                    <a:pt x="488" y="108"/>
                  </a:lnTo>
                  <a:lnTo>
                    <a:pt x="530" y="88"/>
                  </a:lnTo>
                  <a:lnTo>
                    <a:pt x="570" y="68"/>
                  </a:lnTo>
                  <a:lnTo>
                    <a:pt x="612" y="52"/>
                  </a:lnTo>
                  <a:lnTo>
                    <a:pt x="654" y="38"/>
                  </a:lnTo>
                  <a:lnTo>
                    <a:pt x="698" y="26"/>
                  </a:lnTo>
                  <a:lnTo>
                    <a:pt x="742" y="16"/>
                  </a:lnTo>
                  <a:lnTo>
                    <a:pt x="788" y="10"/>
                  </a:lnTo>
                  <a:lnTo>
                    <a:pt x="832" y="4"/>
                  </a:lnTo>
                  <a:lnTo>
                    <a:pt x="878" y="0"/>
                  </a:lnTo>
                  <a:lnTo>
                    <a:pt x="924" y="0"/>
                  </a:lnTo>
                  <a:lnTo>
                    <a:pt x="924" y="0"/>
                  </a:lnTo>
                  <a:lnTo>
                    <a:pt x="970" y="0"/>
                  </a:lnTo>
                  <a:lnTo>
                    <a:pt x="1016" y="4"/>
                  </a:lnTo>
                  <a:lnTo>
                    <a:pt x="1060" y="10"/>
                  </a:lnTo>
                  <a:lnTo>
                    <a:pt x="1106" y="16"/>
                  </a:lnTo>
                  <a:lnTo>
                    <a:pt x="1150" y="26"/>
                  </a:lnTo>
                  <a:lnTo>
                    <a:pt x="1194" y="38"/>
                  </a:lnTo>
                  <a:lnTo>
                    <a:pt x="1236" y="52"/>
                  </a:lnTo>
                  <a:lnTo>
                    <a:pt x="1278" y="68"/>
                  </a:lnTo>
                  <a:lnTo>
                    <a:pt x="1318" y="88"/>
                  </a:lnTo>
                  <a:lnTo>
                    <a:pt x="1360" y="108"/>
                  </a:lnTo>
                  <a:lnTo>
                    <a:pt x="1398" y="130"/>
                  </a:lnTo>
                  <a:lnTo>
                    <a:pt x="1436" y="154"/>
                  </a:lnTo>
                  <a:lnTo>
                    <a:pt x="1474" y="180"/>
                  </a:lnTo>
                  <a:lnTo>
                    <a:pt x="1510" y="208"/>
                  </a:lnTo>
                  <a:lnTo>
                    <a:pt x="1544" y="238"/>
                  </a:lnTo>
                  <a:lnTo>
                    <a:pt x="1578" y="270"/>
                  </a:lnTo>
                  <a:lnTo>
                    <a:pt x="1578" y="270"/>
                  </a:lnTo>
                  <a:lnTo>
                    <a:pt x="1610" y="304"/>
                  </a:lnTo>
                  <a:lnTo>
                    <a:pt x="1640" y="338"/>
                  </a:lnTo>
                  <a:lnTo>
                    <a:pt x="1668" y="374"/>
                  </a:lnTo>
                  <a:lnTo>
                    <a:pt x="1694" y="410"/>
                  </a:lnTo>
                  <a:lnTo>
                    <a:pt x="1718" y="448"/>
                  </a:lnTo>
                  <a:lnTo>
                    <a:pt x="1740" y="488"/>
                  </a:lnTo>
                  <a:lnTo>
                    <a:pt x="1760" y="528"/>
                  </a:lnTo>
                  <a:lnTo>
                    <a:pt x="1778" y="570"/>
                  </a:lnTo>
                  <a:lnTo>
                    <a:pt x="1794" y="612"/>
                  </a:lnTo>
                  <a:lnTo>
                    <a:pt x="1808" y="654"/>
                  </a:lnTo>
                  <a:lnTo>
                    <a:pt x="1820" y="698"/>
                  </a:lnTo>
                  <a:lnTo>
                    <a:pt x="1830" y="742"/>
                  </a:lnTo>
                  <a:lnTo>
                    <a:pt x="1838" y="786"/>
                  </a:lnTo>
                  <a:lnTo>
                    <a:pt x="1844" y="832"/>
                  </a:lnTo>
                  <a:lnTo>
                    <a:pt x="1846" y="876"/>
                  </a:lnTo>
                  <a:lnTo>
                    <a:pt x="1848" y="924"/>
                  </a:lnTo>
                  <a:lnTo>
                    <a:pt x="1848" y="924"/>
                  </a:lnTo>
                  <a:lnTo>
                    <a:pt x="1846" y="970"/>
                  </a:lnTo>
                  <a:lnTo>
                    <a:pt x="1844" y="1014"/>
                  </a:lnTo>
                  <a:lnTo>
                    <a:pt x="1838" y="1060"/>
                  </a:lnTo>
                  <a:lnTo>
                    <a:pt x="1830" y="1104"/>
                  </a:lnTo>
                  <a:lnTo>
                    <a:pt x="1820" y="1148"/>
                  </a:lnTo>
                  <a:lnTo>
                    <a:pt x="1808" y="1192"/>
                  </a:lnTo>
                  <a:lnTo>
                    <a:pt x="1794" y="1234"/>
                  </a:lnTo>
                  <a:lnTo>
                    <a:pt x="1778" y="1276"/>
                  </a:lnTo>
                  <a:lnTo>
                    <a:pt x="1760" y="1318"/>
                  </a:lnTo>
                  <a:lnTo>
                    <a:pt x="1740" y="1358"/>
                  </a:lnTo>
                  <a:lnTo>
                    <a:pt x="1718" y="1398"/>
                  </a:lnTo>
                  <a:lnTo>
                    <a:pt x="1694" y="1436"/>
                  </a:lnTo>
                  <a:lnTo>
                    <a:pt x="1668" y="1472"/>
                  </a:lnTo>
                  <a:lnTo>
                    <a:pt x="1640" y="1508"/>
                  </a:lnTo>
                  <a:lnTo>
                    <a:pt x="1610" y="1542"/>
                  </a:lnTo>
                  <a:lnTo>
                    <a:pt x="1578" y="1576"/>
                  </a:lnTo>
                  <a:lnTo>
                    <a:pt x="1578" y="1576"/>
                  </a:lnTo>
                  <a:lnTo>
                    <a:pt x="1544" y="1608"/>
                  </a:lnTo>
                  <a:lnTo>
                    <a:pt x="1510" y="1638"/>
                  </a:lnTo>
                  <a:lnTo>
                    <a:pt x="1474" y="1666"/>
                  </a:lnTo>
                  <a:lnTo>
                    <a:pt x="1436" y="1692"/>
                  </a:lnTo>
                  <a:lnTo>
                    <a:pt x="1398" y="1716"/>
                  </a:lnTo>
                  <a:lnTo>
                    <a:pt x="1360" y="1738"/>
                  </a:lnTo>
                  <a:lnTo>
                    <a:pt x="1318" y="1758"/>
                  </a:lnTo>
                  <a:lnTo>
                    <a:pt x="1278" y="1778"/>
                  </a:lnTo>
                  <a:lnTo>
                    <a:pt x="1236" y="1794"/>
                  </a:lnTo>
                  <a:lnTo>
                    <a:pt x="1194" y="1808"/>
                  </a:lnTo>
                  <a:lnTo>
                    <a:pt x="1150" y="1820"/>
                  </a:lnTo>
                  <a:lnTo>
                    <a:pt x="1106" y="1830"/>
                  </a:lnTo>
                  <a:lnTo>
                    <a:pt x="1060" y="1836"/>
                  </a:lnTo>
                  <a:lnTo>
                    <a:pt x="1016" y="1842"/>
                  </a:lnTo>
                  <a:lnTo>
                    <a:pt x="970" y="1846"/>
                  </a:lnTo>
                  <a:lnTo>
                    <a:pt x="924" y="1848"/>
                  </a:lnTo>
                  <a:lnTo>
                    <a:pt x="924" y="1848"/>
                  </a:lnTo>
                  <a:close/>
                  <a:moveTo>
                    <a:pt x="924" y="560"/>
                  </a:moveTo>
                  <a:lnTo>
                    <a:pt x="924" y="560"/>
                  </a:lnTo>
                  <a:lnTo>
                    <a:pt x="888" y="560"/>
                  </a:lnTo>
                  <a:lnTo>
                    <a:pt x="852" y="566"/>
                  </a:lnTo>
                  <a:lnTo>
                    <a:pt x="818" y="574"/>
                  </a:lnTo>
                  <a:lnTo>
                    <a:pt x="784" y="586"/>
                  </a:lnTo>
                  <a:lnTo>
                    <a:pt x="752" y="602"/>
                  </a:lnTo>
                  <a:lnTo>
                    <a:pt x="722" y="620"/>
                  </a:lnTo>
                  <a:lnTo>
                    <a:pt x="694" y="642"/>
                  </a:lnTo>
                  <a:lnTo>
                    <a:pt x="666" y="666"/>
                  </a:lnTo>
                  <a:lnTo>
                    <a:pt x="666" y="666"/>
                  </a:lnTo>
                  <a:lnTo>
                    <a:pt x="642" y="692"/>
                  </a:lnTo>
                  <a:lnTo>
                    <a:pt x="622" y="722"/>
                  </a:lnTo>
                  <a:lnTo>
                    <a:pt x="602" y="752"/>
                  </a:lnTo>
                  <a:lnTo>
                    <a:pt x="588" y="784"/>
                  </a:lnTo>
                  <a:lnTo>
                    <a:pt x="576" y="818"/>
                  </a:lnTo>
                  <a:lnTo>
                    <a:pt x="566" y="852"/>
                  </a:lnTo>
                  <a:lnTo>
                    <a:pt x="562" y="886"/>
                  </a:lnTo>
                  <a:lnTo>
                    <a:pt x="560" y="924"/>
                  </a:lnTo>
                  <a:lnTo>
                    <a:pt x="560" y="924"/>
                  </a:lnTo>
                  <a:lnTo>
                    <a:pt x="562" y="960"/>
                  </a:lnTo>
                  <a:lnTo>
                    <a:pt x="568" y="994"/>
                  </a:lnTo>
                  <a:lnTo>
                    <a:pt x="576" y="1028"/>
                  </a:lnTo>
                  <a:lnTo>
                    <a:pt x="588" y="1062"/>
                  </a:lnTo>
                  <a:lnTo>
                    <a:pt x="602" y="1094"/>
                  </a:lnTo>
                  <a:lnTo>
                    <a:pt x="622" y="1124"/>
                  </a:lnTo>
                  <a:lnTo>
                    <a:pt x="642" y="1154"/>
                  </a:lnTo>
                  <a:lnTo>
                    <a:pt x="666" y="1180"/>
                  </a:lnTo>
                  <a:lnTo>
                    <a:pt x="666" y="1180"/>
                  </a:lnTo>
                  <a:lnTo>
                    <a:pt x="694" y="1204"/>
                  </a:lnTo>
                  <a:lnTo>
                    <a:pt x="722" y="1226"/>
                  </a:lnTo>
                  <a:lnTo>
                    <a:pt x="752" y="1244"/>
                  </a:lnTo>
                  <a:lnTo>
                    <a:pt x="784" y="1260"/>
                  </a:lnTo>
                  <a:lnTo>
                    <a:pt x="818" y="1272"/>
                  </a:lnTo>
                  <a:lnTo>
                    <a:pt x="852" y="1280"/>
                  </a:lnTo>
                  <a:lnTo>
                    <a:pt x="888" y="1286"/>
                  </a:lnTo>
                  <a:lnTo>
                    <a:pt x="924" y="1288"/>
                  </a:lnTo>
                  <a:lnTo>
                    <a:pt x="924" y="1288"/>
                  </a:lnTo>
                  <a:lnTo>
                    <a:pt x="960" y="1286"/>
                  </a:lnTo>
                  <a:lnTo>
                    <a:pt x="996" y="1280"/>
                  </a:lnTo>
                  <a:lnTo>
                    <a:pt x="1030" y="1272"/>
                  </a:lnTo>
                  <a:lnTo>
                    <a:pt x="1064" y="1260"/>
                  </a:lnTo>
                  <a:lnTo>
                    <a:pt x="1096" y="1244"/>
                  </a:lnTo>
                  <a:lnTo>
                    <a:pt x="1126" y="1226"/>
                  </a:lnTo>
                  <a:lnTo>
                    <a:pt x="1154" y="1204"/>
                  </a:lnTo>
                  <a:lnTo>
                    <a:pt x="1182" y="1180"/>
                  </a:lnTo>
                  <a:lnTo>
                    <a:pt x="1182" y="1180"/>
                  </a:lnTo>
                  <a:lnTo>
                    <a:pt x="1206" y="1154"/>
                  </a:lnTo>
                  <a:lnTo>
                    <a:pt x="1226" y="1124"/>
                  </a:lnTo>
                  <a:lnTo>
                    <a:pt x="1246" y="1094"/>
                  </a:lnTo>
                  <a:lnTo>
                    <a:pt x="1260" y="1062"/>
                  </a:lnTo>
                  <a:lnTo>
                    <a:pt x="1272" y="1028"/>
                  </a:lnTo>
                  <a:lnTo>
                    <a:pt x="1282" y="994"/>
                  </a:lnTo>
                  <a:lnTo>
                    <a:pt x="1286" y="960"/>
                  </a:lnTo>
                  <a:lnTo>
                    <a:pt x="1288" y="924"/>
                  </a:lnTo>
                  <a:lnTo>
                    <a:pt x="1288" y="924"/>
                  </a:lnTo>
                  <a:lnTo>
                    <a:pt x="1286" y="886"/>
                  </a:lnTo>
                  <a:lnTo>
                    <a:pt x="1282" y="852"/>
                  </a:lnTo>
                  <a:lnTo>
                    <a:pt x="1272" y="818"/>
                  </a:lnTo>
                  <a:lnTo>
                    <a:pt x="1260" y="784"/>
                  </a:lnTo>
                  <a:lnTo>
                    <a:pt x="1246" y="752"/>
                  </a:lnTo>
                  <a:lnTo>
                    <a:pt x="1226" y="722"/>
                  </a:lnTo>
                  <a:lnTo>
                    <a:pt x="1206" y="692"/>
                  </a:lnTo>
                  <a:lnTo>
                    <a:pt x="1182" y="666"/>
                  </a:lnTo>
                  <a:lnTo>
                    <a:pt x="1182" y="666"/>
                  </a:lnTo>
                  <a:lnTo>
                    <a:pt x="1154" y="642"/>
                  </a:lnTo>
                  <a:lnTo>
                    <a:pt x="1126" y="620"/>
                  </a:lnTo>
                  <a:lnTo>
                    <a:pt x="1096" y="602"/>
                  </a:lnTo>
                  <a:lnTo>
                    <a:pt x="1064" y="586"/>
                  </a:lnTo>
                  <a:lnTo>
                    <a:pt x="1030" y="574"/>
                  </a:lnTo>
                  <a:lnTo>
                    <a:pt x="996" y="566"/>
                  </a:lnTo>
                  <a:lnTo>
                    <a:pt x="960" y="560"/>
                  </a:lnTo>
                  <a:lnTo>
                    <a:pt x="924" y="560"/>
                  </a:lnTo>
                  <a:lnTo>
                    <a:pt x="924" y="560"/>
                  </a:lnTo>
                  <a:close/>
                </a:path>
              </a:pathLst>
            </a:custGeom>
            <a:solidFill>
              <a:srgbClr val="D5D5D5"/>
            </a:solidFill>
            <a:ln w="3175">
              <a:noFill/>
              <a:round/>
              <a:headEnd/>
              <a:tailEnd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-1733550" y="2214563"/>
              <a:ext cx="946150" cy="841375"/>
            </a:xfrm>
            <a:custGeom>
              <a:avLst/>
              <a:gdLst>
                <a:gd name="T0" fmla="*/ 314 w 596"/>
                <a:gd name="T1" fmla="*/ 530 h 530"/>
                <a:gd name="T2" fmla="*/ 596 w 596"/>
                <a:gd name="T3" fmla="*/ 246 h 530"/>
                <a:gd name="T4" fmla="*/ 596 w 596"/>
                <a:gd name="T5" fmla="*/ 246 h 530"/>
                <a:gd name="T6" fmla="*/ 568 w 596"/>
                <a:gd name="T7" fmla="*/ 218 h 530"/>
                <a:gd name="T8" fmla="*/ 536 w 596"/>
                <a:gd name="T9" fmla="*/ 192 h 530"/>
                <a:gd name="T10" fmla="*/ 504 w 596"/>
                <a:gd name="T11" fmla="*/ 166 h 530"/>
                <a:gd name="T12" fmla="*/ 472 w 596"/>
                <a:gd name="T13" fmla="*/ 144 h 530"/>
                <a:gd name="T14" fmla="*/ 438 w 596"/>
                <a:gd name="T15" fmla="*/ 122 h 530"/>
                <a:gd name="T16" fmla="*/ 402 w 596"/>
                <a:gd name="T17" fmla="*/ 100 h 530"/>
                <a:gd name="T18" fmla="*/ 366 w 596"/>
                <a:gd name="T19" fmla="*/ 82 h 530"/>
                <a:gd name="T20" fmla="*/ 328 w 596"/>
                <a:gd name="T21" fmla="*/ 66 h 530"/>
                <a:gd name="T22" fmla="*/ 290 w 596"/>
                <a:gd name="T23" fmla="*/ 50 h 530"/>
                <a:gd name="T24" fmla="*/ 250 w 596"/>
                <a:gd name="T25" fmla="*/ 36 h 530"/>
                <a:gd name="T26" fmla="*/ 210 w 596"/>
                <a:gd name="T27" fmla="*/ 26 h 530"/>
                <a:gd name="T28" fmla="*/ 170 w 596"/>
                <a:gd name="T29" fmla="*/ 16 h 530"/>
                <a:gd name="T30" fmla="*/ 128 w 596"/>
                <a:gd name="T31" fmla="*/ 8 h 530"/>
                <a:gd name="T32" fmla="*/ 86 w 596"/>
                <a:gd name="T33" fmla="*/ 4 h 530"/>
                <a:gd name="T34" fmla="*/ 44 w 596"/>
                <a:gd name="T35" fmla="*/ 0 h 530"/>
                <a:gd name="T36" fmla="*/ 0 w 596"/>
                <a:gd name="T37" fmla="*/ 0 h 530"/>
                <a:gd name="T38" fmla="*/ 0 w 596"/>
                <a:gd name="T39" fmla="*/ 400 h 530"/>
                <a:gd name="T40" fmla="*/ 0 w 596"/>
                <a:gd name="T41" fmla="*/ 400 h 530"/>
                <a:gd name="T42" fmla="*/ 46 w 596"/>
                <a:gd name="T43" fmla="*/ 402 h 530"/>
                <a:gd name="T44" fmla="*/ 90 w 596"/>
                <a:gd name="T45" fmla="*/ 408 h 530"/>
                <a:gd name="T46" fmla="*/ 132 w 596"/>
                <a:gd name="T47" fmla="*/ 418 h 530"/>
                <a:gd name="T48" fmla="*/ 172 w 596"/>
                <a:gd name="T49" fmla="*/ 434 h 530"/>
                <a:gd name="T50" fmla="*/ 212 w 596"/>
                <a:gd name="T51" fmla="*/ 452 h 530"/>
                <a:gd name="T52" fmla="*/ 248 w 596"/>
                <a:gd name="T53" fmla="*/ 474 h 530"/>
                <a:gd name="T54" fmla="*/ 282 w 596"/>
                <a:gd name="T55" fmla="*/ 500 h 530"/>
                <a:gd name="T56" fmla="*/ 314 w 596"/>
                <a:gd name="T57" fmla="*/ 530 h 530"/>
                <a:gd name="T58" fmla="*/ 314 w 596"/>
                <a:gd name="T59" fmla="*/ 53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96" h="530">
                  <a:moveTo>
                    <a:pt x="314" y="530"/>
                  </a:moveTo>
                  <a:lnTo>
                    <a:pt x="596" y="246"/>
                  </a:lnTo>
                  <a:lnTo>
                    <a:pt x="596" y="246"/>
                  </a:lnTo>
                  <a:lnTo>
                    <a:pt x="568" y="218"/>
                  </a:lnTo>
                  <a:lnTo>
                    <a:pt x="536" y="192"/>
                  </a:lnTo>
                  <a:lnTo>
                    <a:pt x="504" y="166"/>
                  </a:lnTo>
                  <a:lnTo>
                    <a:pt x="472" y="144"/>
                  </a:lnTo>
                  <a:lnTo>
                    <a:pt x="438" y="122"/>
                  </a:lnTo>
                  <a:lnTo>
                    <a:pt x="402" y="100"/>
                  </a:lnTo>
                  <a:lnTo>
                    <a:pt x="366" y="82"/>
                  </a:lnTo>
                  <a:lnTo>
                    <a:pt x="328" y="66"/>
                  </a:lnTo>
                  <a:lnTo>
                    <a:pt x="290" y="50"/>
                  </a:lnTo>
                  <a:lnTo>
                    <a:pt x="250" y="36"/>
                  </a:lnTo>
                  <a:lnTo>
                    <a:pt x="210" y="26"/>
                  </a:lnTo>
                  <a:lnTo>
                    <a:pt x="170" y="16"/>
                  </a:lnTo>
                  <a:lnTo>
                    <a:pt x="128" y="8"/>
                  </a:lnTo>
                  <a:lnTo>
                    <a:pt x="86" y="4"/>
                  </a:lnTo>
                  <a:lnTo>
                    <a:pt x="44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0" y="400"/>
                  </a:lnTo>
                  <a:lnTo>
                    <a:pt x="46" y="402"/>
                  </a:lnTo>
                  <a:lnTo>
                    <a:pt x="90" y="408"/>
                  </a:lnTo>
                  <a:lnTo>
                    <a:pt x="132" y="418"/>
                  </a:lnTo>
                  <a:lnTo>
                    <a:pt x="172" y="434"/>
                  </a:lnTo>
                  <a:lnTo>
                    <a:pt x="212" y="452"/>
                  </a:lnTo>
                  <a:lnTo>
                    <a:pt x="248" y="474"/>
                  </a:lnTo>
                  <a:lnTo>
                    <a:pt x="282" y="500"/>
                  </a:lnTo>
                  <a:lnTo>
                    <a:pt x="314" y="530"/>
                  </a:lnTo>
                  <a:lnTo>
                    <a:pt x="314" y="530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-1235075" y="2605088"/>
              <a:ext cx="841375" cy="949325"/>
            </a:xfrm>
            <a:custGeom>
              <a:avLst/>
              <a:gdLst>
                <a:gd name="T0" fmla="*/ 130 w 530"/>
                <a:gd name="T1" fmla="*/ 598 h 598"/>
                <a:gd name="T2" fmla="*/ 530 w 530"/>
                <a:gd name="T3" fmla="*/ 598 h 598"/>
                <a:gd name="T4" fmla="*/ 530 w 530"/>
                <a:gd name="T5" fmla="*/ 598 h 598"/>
                <a:gd name="T6" fmla="*/ 528 w 530"/>
                <a:gd name="T7" fmla="*/ 554 h 598"/>
                <a:gd name="T8" fmla="*/ 526 w 530"/>
                <a:gd name="T9" fmla="*/ 510 h 598"/>
                <a:gd name="T10" fmla="*/ 520 w 530"/>
                <a:gd name="T11" fmla="*/ 468 h 598"/>
                <a:gd name="T12" fmla="*/ 512 w 530"/>
                <a:gd name="T13" fmla="*/ 426 h 598"/>
                <a:gd name="T14" fmla="*/ 504 w 530"/>
                <a:gd name="T15" fmla="*/ 386 h 598"/>
                <a:gd name="T16" fmla="*/ 492 w 530"/>
                <a:gd name="T17" fmla="*/ 346 h 598"/>
                <a:gd name="T18" fmla="*/ 478 w 530"/>
                <a:gd name="T19" fmla="*/ 306 h 598"/>
                <a:gd name="T20" fmla="*/ 464 w 530"/>
                <a:gd name="T21" fmla="*/ 268 h 598"/>
                <a:gd name="T22" fmla="*/ 446 w 530"/>
                <a:gd name="T23" fmla="*/ 232 h 598"/>
                <a:gd name="T24" fmla="*/ 428 w 530"/>
                <a:gd name="T25" fmla="*/ 194 h 598"/>
                <a:gd name="T26" fmla="*/ 408 w 530"/>
                <a:gd name="T27" fmla="*/ 160 h 598"/>
                <a:gd name="T28" fmla="*/ 386 w 530"/>
                <a:gd name="T29" fmla="*/ 126 h 598"/>
                <a:gd name="T30" fmla="*/ 362 w 530"/>
                <a:gd name="T31" fmla="*/ 92 h 598"/>
                <a:gd name="T32" fmla="*/ 338 w 530"/>
                <a:gd name="T33" fmla="*/ 60 h 598"/>
                <a:gd name="T34" fmla="*/ 310 w 530"/>
                <a:gd name="T35" fmla="*/ 30 h 598"/>
                <a:gd name="T36" fmla="*/ 282 w 530"/>
                <a:gd name="T37" fmla="*/ 0 h 598"/>
                <a:gd name="T38" fmla="*/ 0 w 530"/>
                <a:gd name="T39" fmla="*/ 284 h 598"/>
                <a:gd name="T40" fmla="*/ 0 w 530"/>
                <a:gd name="T41" fmla="*/ 284 h 598"/>
                <a:gd name="T42" fmla="*/ 28 w 530"/>
                <a:gd name="T43" fmla="*/ 314 h 598"/>
                <a:gd name="T44" fmla="*/ 54 w 530"/>
                <a:gd name="T45" fmla="*/ 348 h 598"/>
                <a:gd name="T46" fmla="*/ 76 w 530"/>
                <a:gd name="T47" fmla="*/ 386 h 598"/>
                <a:gd name="T48" fmla="*/ 96 w 530"/>
                <a:gd name="T49" fmla="*/ 424 h 598"/>
                <a:gd name="T50" fmla="*/ 110 w 530"/>
                <a:gd name="T51" fmla="*/ 466 h 598"/>
                <a:gd name="T52" fmla="*/ 120 w 530"/>
                <a:gd name="T53" fmla="*/ 508 h 598"/>
                <a:gd name="T54" fmla="*/ 128 w 530"/>
                <a:gd name="T55" fmla="*/ 552 h 598"/>
                <a:gd name="T56" fmla="*/ 130 w 530"/>
                <a:gd name="T57" fmla="*/ 598 h 598"/>
                <a:gd name="T58" fmla="*/ 130 w 530"/>
                <a:gd name="T59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0" h="598">
                  <a:moveTo>
                    <a:pt x="130" y="598"/>
                  </a:moveTo>
                  <a:lnTo>
                    <a:pt x="530" y="598"/>
                  </a:lnTo>
                  <a:lnTo>
                    <a:pt x="530" y="598"/>
                  </a:lnTo>
                  <a:lnTo>
                    <a:pt x="528" y="554"/>
                  </a:lnTo>
                  <a:lnTo>
                    <a:pt x="526" y="510"/>
                  </a:lnTo>
                  <a:lnTo>
                    <a:pt x="520" y="468"/>
                  </a:lnTo>
                  <a:lnTo>
                    <a:pt x="512" y="426"/>
                  </a:lnTo>
                  <a:lnTo>
                    <a:pt x="504" y="386"/>
                  </a:lnTo>
                  <a:lnTo>
                    <a:pt x="492" y="346"/>
                  </a:lnTo>
                  <a:lnTo>
                    <a:pt x="478" y="306"/>
                  </a:lnTo>
                  <a:lnTo>
                    <a:pt x="464" y="268"/>
                  </a:lnTo>
                  <a:lnTo>
                    <a:pt x="446" y="232"/>
                  </a:lnTo>
                  <a:lnTo>
                    <a:pt x="428" y="194"/>
                  </a:lnTo>
                  <a:lnTo>
                    <a:pt x="408" y="160"/>
                  </a:lnTo>
                  <a:lnTo>
                    <a:pt x="386" y="126"/>
                  </a:lnTo>
                  <a:lnTo>
                    <a:pt x="362" y="92"/>
                  </a:lnTo>
                  <a:lnTo>
                    <a:pt x="338" y="60"/>
                  </a:lnTo>
                  <a:lnTo>
                    <a:pt x="310" y="30"/>
                  </a:lnTo>
                  <a:lnTo>
                    <a:pt x="282" y="0"/>
                  </a:lnTo>
                  <a:lnTo>
                    <a:pt x="0" y="284"/>
                  </a:lnTo>
                  <a:lnTo>
                    <a:pt x="0" y="284"/>
                  </a:lnTo>
                  <a:lnTo>
                    <a:pt x="28" y="314"/>
                  </a:lnTo>
                  <a:lnTo>
                    <a:pt x="54" y="348"/>
                  </a:lnTo>
                  <a:lnTo>
                    <a:pt x="76" y="386"/>
                  </a:lnTo>
                  <a:lnTo>
                    <a:pt x="96" y="424"/>
                  </a:lnTo>
                  <a:lnTo>
                    <a:pt x="110" y="466"/>
                  </a:lnTo>
                  <a:lnTo>
                    <a:pt x="120" y="508"/>
                  </a:lnTo>
                  <a:lnTo>
                    <a:pt x="128" y="552"/>
                  </a:lnTo>
                  <a:lnTo>
                    <a:pt x="130" y="598"/>
                  </a:lnTo>
                  <a:lnTo>
                    <a:pt x="130" y="598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-2679700" y="2214563"/>
              <a:ext cx="946150" cy="841375"/>
            </a:xfrm>
            <a:custGeom>
              <a:avLst/>
              <a:gdLst>
                <a:gd name="T0" fmla="*/ 596 w 596"/>
                <a:gd name="T1" fmla="*/ 400 h 530"/>
                <a:gd name="T2" fmla="*/ 596 w 596"/>
                <a:gd name="T3" fmla="*/ 0 h 530"/>
                <a:gd name="T4" fmla="*/ 596 w 596"/>
                <a:gd name="T5" fmla="*/ 0 h 530"/>
                <a:gd name="T6" fmla="*/ 552 w 596"/>
                <a:gd name="T7" fmla="*/ 0 h 530"/>
                <a:gd name="T8" fmla="*/ 510 w 596"/>
                <a:gd name="T9" fmla="*/ 4 h 530"/>
                <a:gd name="T10" fmla="*/ 468 w 596"/>
                <a:gd name="T11" fmla="*/ 8 h 530"/>
                <a:gd name="T12" fmla="*/ 426 w 596"/>
                <a:gd name="T13" fmla="*/ 16 h 530"/>
                <a:gd name="T14" fmla="*/ 386 w 596"/>
                <a:gd name="T15" fmla="*/ 26 h 530"/>
                <a:gd name="T16" fmla="*/ 346 w 596"/>
                <a:gd name="T17" fmla="*/ 36 h 530"/>
                <a:gd name="T18" fmla="*/ 306 w 596"/>
                <a:gd name="T19" fmla="*/ 50 h 530"/>
                <a:gd name="T20" fmla="*/ 268 w 596"/>
                <a:gd name="T21" fmla="*/ 66 h 530"/>
                <a:gd name="T22" fmla="*/ 230 w 596"/>
                <a:gd name="T23" fmla="*/ 82 h 530"/>
                <a:gd name="T24" fmla="*/ 194 w 596"/>
                <a:gd name="T25" fmla="*/ 100 h 530"/>
                <a:gd name="T26" fmla="*/ 158 w 596"/>
                <a:gd name="T27" fmla="*/ 122 h 530"/>
                <a:gd name="T28" fmla="*/ 124 w 596"/>
                <a:gd name="T29" fmla="*/ 144 h 530"/>
                <a:gd name="T30" fmla="*/ 92 w 596"/>
                <a:gd name="T31" fmla="*/ 166 h 530"/>
                <a:gd name="T32" fmla="*/ 60 w 596"/>
                <a:gd name="T33" fmla="*/ 192 h 530"/>
                <a:gd name="T34" fmla="*/ 28 w 596"/>
                <a:gd name="T35" fmla="*/ 218 h 530"/>
                <a:gd name="T36" fmla="*/ 0 w 596"/>
                <a:gd name="T37" fmla="*/ 246 h 530"/>
                <a:gd name="T38" fmla="*/ 282 w 596"/>
                <a:gd name="T39" fmla="*/ 530 h 530"/>
                <a:gd name="T40" fmla="*/ 282 w 596"/>
                <a:gd name="T41" fmla="*/ 530 h 530"/>
                <a:gd name="T42" fmla="*/ 314 w 596"/>
                <a:gd name="T43" fmla="*/ 500 h 530"/>
                <a:gd name="T44" fmla="*/ 348 w 596"/>
                <a:gd name="T45" fmla="*/ 474 h 530"/>
                <a:gd name="T46" fmla="*/ 384 w 596"/>
                <a:gd name="T47" fmla="*/ 452 h 530"/>
                <a:gd name="T48" fmla="*/ 424 w 596"/>
                <a:gd name="T49" fmla="*/ 434 h 530"/>
                <a:gd name="T50" fmla="*/ 464 w 596"/>
                <a:gd name="T51" fmla="*/ 418 h 530"/>
                <a:gd name="T52" fmla="*/ 506 w 596"/>
                <a:gd name="T53" fmla="*/ 408 h 530"/>
                <a:gd name="T54" fmla="*/ 550 w 596"/>
                <a:gd name="T55" fmla="*/ 402 h 530"/>
                <a:gd name="T56" fmla="*/ 596 w 596"/>
                <a:gd name="T57" fmla="*/ 400 h 530"/>
                <a:gd name="T58" fmla="*/ 596 w 596"/>
                <a:gd name="T59" fmla="*/ 40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96" h="530">
                  <a:moveTo>
                    <a:pt x="596" y="400"/>
                  </a:moveTo>
                  <a:lnTo>
                    <a:pt x="596" y="0"/>
                  </a:lnTo>
                  <a:lnTo>
                    <a:pt x="596" y="0"/>
                  </a:lnTo>
                  <a:lnTo>
                    <a:pt x="552" y="0"/>
                  </a:lnTo>
                  <a:lnTo>
                    <a:pt x="510" y="4"/>
                  </a:lnTo>
                  <a:lnTo>
                    <a:pt x="468" y="8"/>
                  </a:lnTo>
                  <a:lnTo>
                    <a:pt x="426" y="16"/>
                  </a:lnTo>
                  <a:lnTo>
                    <a:pt x="386" y="26"/>
                  </a:lnTo>
                  <a:lnTo>
                    <a:pt x="346" y="36"/>
                  </a:lnTo>
                  <a:lnTo>
                    <a:pt x="306" y="50"/>
                  </a:lnTo>
                  <a:lnTo>
                    <a:pt x="268" y="66"/>
                  </a:lnTo>
                  <a:lnTo>
                    <a:pt x="230" y="82"/>
                  </a:lnTo>
                  <a:lnTo>
                    <a:pt x="194" y="100"/>
                  </a:lnTo>
                  <a:lnTo>
                    <a:pt x="158" y="122"/>
                  </a:lnTo>
                  <a:lnTo>
                    <a:pt x="124" y="144"/>
                  </a:lnTo>
                  <a:lnTo>
                    <a:pt x="92" y="166"/>
                  </a:lnTo>
                  <a:lnTo>
                    <a:pt x="60" y="192"/>
                  </a:lnTo>
                  <a:lnTo>
                    <a:pt x="28" y="218"/>
                  </a:lnTo>
                  <a:lnTo>
                    <a:pt x="0" y="246"/>
                  </a:lnTo>
                  <a:lnTo>
                    <a:pt x="282" y="530"/>
                  </a:lnTo>
                  <a:lnTo>
                    <a:pt x="282" y="530"/>
                  </a:lnTo>
                  <a:lnTo>
                    <a:pt x="314" y="500"/>
                  </a:lnTo>
                  <a:lnTo>
                    <a:pt x="348" y="474"/>
                  </a:lnTo>
                  <a:lnTo>
                    <a:pt x="384" y="452"/>
                  </a:lnTo>
                  <a:lnTo>
                    <a:pt x="424" y="434"/>
                  </a:lnTo>
                  <a:lnTo>
                    <a:pt x="464" y="418"/>
                  </a:lnTo>
                  <a:lnTo>
                    <a:pt x="506" y="408"/>
                  </a:lnTo>
                  <a:lnTo>
                    <a:pt x="550" y="402"/>
                  </a:lnTo>
                  <a:lnTo>
                    <a:pt x="596" y="400"/>
                  </a:lnTo>
                  <a:lnTo>
                    <a:pt x="596" y="40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-1235075" y="3554413"/>
              <a:ext cx="841375" cy="946150"/>
            </a:xfrm>
            <a:custGeom>
              <a:avLst/>
              <a:gdLst>
                <a:gd name="T0" fmla="*/ 130 w 530"/>
                <a:gd name="T1" fmla="*/ 0 h 596"/>
                <a:gd name="T2" fmla="*/ 130 w 530"/>
                <a:gd name="T3" fmla="*/ 0 h 596"/>
                <a:gd name="T4" fmla="*/ 128 w 530"/>
                <a:gd name="T5" fmla="*/ 44 h 596"/>
                <a:gd name="T6" fmla="*/ 120 w 530"/>
                <a:gd name="T7" fmla="*/ 88 h 596"/>
                <a:gd name="T8" fmla="*/ 110 w 530"/>
                <a:gd name="T9" fmla="*/ 130 h 596"/>
                <a:gd name="T10" fmla="*/ 96 w 530"/>
                <a:gd name="T11" fmla="*/ 172 h 596"/>
                <a:gd name="T12" fmla="*/ 76 w 530"/>
                <a:gd name="T13" fmla="*/ 210 h 596"/>
                <a:gd name="T14" fmla="*/ 54 w 530"/>
                <a:gd name="T15" fmla="*/ 248 h 596"/>
                <a:gd name="T16" fmla="*/ 28 w 530"/>
                <a:gd name="T17" fmla="*/ 282 h 596"/>
                <a:gd name="T18" fmla="*/ 0 w 530"/>
                <a:gd name="T19" fmla="*/ 312 h 596"/>
                <a:gd name="T20" fmla="*/ 282 w 530"/>
                <a:gd name="T21" fmla="*/ 596 h 596"/>
                <a:gd name="T22" fmla="*/ 282 w 530"/>
                <a:gd name="T23" fmla="*/ 596 h 596"/>
                <a:gd name="T24" fmla="*/ 310 w 530"/>
                <a:gd name="T25" fmla="*/ 566 h 596"/>
                <a:gd name="T26" fmla="*/ 338 w 530"/>
                <a:gd name="T27" fmla="*/ 536 h 596"/>
                <a:gd name="T28" fmla="*/ 362 w 530"/>
                <a:gd name="T29" fmla="*/ 504 h 596"/>
                <a:gd name="T30" fmla="*/ 386 w 530"/>
                <a:gd name="T31" fmla="*/ 470 h 596"/>
                <a:gd name="T32" fmla="*/ 408 w 530"/>
                <a:gd name="T33" fmla="*/ 436 h 596"/>
                <a:gd name="T34" fmla="*/ 428 w 530"/>
                <a:gd name="T35" fmla="*/ 402 h 596"/>
                <a:gd name="T36" fmla="*/ 446 w 530"/>
                <a:gd name="T37" fmla="*/ 364 h 596"/>
                <a:gd name="T38" fmla="*/ 464 w 530"/>
                <a:gd name="T39" fmla="*/ 328 h 596"/>
                <a:gd name="T40" fmla="*/ 478 w 530"/>
                <a:gd name="T41" fmla="*/ 290 h 596"/>
                <a:gd name="T42" fmla="*/ 492 w 530"/>
                <a:gd name="T43" fmla="*/ 250 h 596"/>
                <a:gd name="T44" fmla="*/ 504 w 530"/>
                <a:gd name="T45" fmla="*/ 210 h 596"/>
                <a:gd name="T46" fmla="*/ 512 w 530"/>
                <a:gd name="T47" fmla="*/ 170 h 596"/>
                <a:gd name="T48" fmla="*/ 520 w 530"/>
                <a:gd name="T49" fmla="*/ 128 h 596"/>
                <a:gd name="T50" fmla="*/ 526 w 530"/>
                <a:gd name="T51" fmla="*/ 86 h 596"/>
                <a:gd name="T52" fmla="*/ 528 w 530"/>
                <a:gd name="T53" fmla="*/ 42 h 596"/>
                <a:gd name="T54" fmla="*/ 530 w 530"/>
                <a:gd name="T55" fmla="*/ 0 h 596"/>
                <a:gd name="T56" fmla="*/ 130 w 530"/>
                <a:gd name="T57" fmla="*/ 0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30" h="596">
                  <a:moveTo>
                    <a:pt x="130" y="0"/>
                  </a:moveTo>
                  <a:lnTo>
                    <a:pt x="130" y="0"/>
                  </a:lnTo>
                  <a:lnTo>
                    <a:pt x="128" y="44"/>
                  </a:lnTo>
                  <a:lnTo>
                    <a:pt x="120" y="88"/>
                  </a:lnTo>
                  <a:lnTo>
                    <a:pt x="110" y="130"/>
                  </a:lnTo>
                  <a:lnTo>
                    <a:pt x="96" y="172"/>
                  </a:lnTo>
                  <a:lnTo>
                    <a:pt x="76" y="210"/>
                  </a:lnTo>
                  <a:lnTo>
                    <a:pt x="54" y="248"/>
                  </a:lnTo>
                  <a:lnTo>
                    <a:pt x="28" y="282"/>
                  </a:lnTo>
                  <a:lnTo>
                    <a:pt x="0" y="312"/>
                  </a:lnTo>
                  <a:lnTo>
                    <a:pt x="282" y="596"/>
                  </a:lnTo>
                  <a:lnTo>
                    <a:pt x="282" y="596"/>
                  </a:lnTo>
                  <a:lnTo>
                    <a:pt x="310" y="566"/>
                  </a:lnTo>
                  <a:lnTo>
                    <a:pt x="338" y="536"/>
                  </a:lnTo>
                  <a:lnTo>
                    <a:pt x="362" y="504"/>
                  </a:lnTo>
                  <a:lnTo>
                    <a:pt x="386" y="470"/>
                  </a:lnTo>
                  <a:lnTo>
                    <a:pt x="408" y="436"/>
                  </a:lnTo>
                  <a:lnTo>
                    <a:pt x="428" y="402"/>
                  </a:lnTo>
                  <a:lnTo>
                    <a:pt x="446" y="364"/>
                  </a:lnTo>
                  <a:lnTo>
                    <a:pt x="464" y="328"/>
                  </a:lnTo>
                  <a:lnTo>
                    <a:pt x="478" y="290"/>
                  </a:lnTo>
                  <a:lnTo>
                    <a:pt x="492" y="250"/>
                  </a:lnTo>
                  <a:lnTo>
                    <a:pt x="504" y="210"/>
                  </a:lnTo>
                  <a:lnTo>
                    <a:pt x="512" y="170"/>
                  </a:lnTo>
                  <a:lnTo>
                    <a:pt x="520" y="128"/>
                  </a:lnTo>
                  <a:lnTo>
                    <a:pt x="526" y="86"/>
                  </a:lnTo>
                  <a:lnTo>
                    <a:pt x="528" y="42"/>
                  </a:lnTo>
                  <a:lnTo>
                    <a:pt x="530" y="0"/>
                  </a:lnTo>
                  <a:lnTo>
                    <a:pt x="13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-1733550" y="4049713"/>
              <a:ext cx="946150" cy="844550"/>
            </a:xfrm>
            <a:custGeom>
              <a:avLst/>
              <a:gdLst>
                <a:gd name="T0" fmla="*/ 0 w 596"/>
                <a:gd name="T1" fmla="*/ 132 h 532"/>
                <a:gd name="T2" fmla="*/ 0 w 596"/>
                <a:gd name="T3" fmla="*/ 532 h 532"/>
                <a:gd name="T4" fmla="*/ 0 w 596"/>
                <a:gd name="T5" fmla="*/ 532 h 532"/>
                <a:gd name="T6" fmla="*/ 44 w 596"/>
                <a:gd name="T7" fmla="*/ 530 h 532"/>
                <a:gd name="T8" fmla="*/ 86 w 596"/>
                <a:gd name="T9" fmla="*/ 526 h 532"/>
                <a:gd name="T10" fmla="*/ 128 w 596"/>
                <a:gd name="T11" fmla="*/ 522 h 532"/>
                <a:gd name="T12" fmla="*/ 170 w 596"/>
                <a:gd name="T13" fmla="*/ 514 h 532"/>
                <a:gd name="T14" fmla="*/ 210 w 596"/>
                <a:gd name="T15" fmla="*/ 504 h 532"/>
                <a:gd name="T16" fmla="*/ 250 w 596"/>
                <a:gd name="T17" fmla="*/ 494 h 532"/>
                <a:gd name="T18" fmla="*/ 290 w 596"/>
                <a:gd name="T19" fmla="*/ 480 h 532"/>
                <a:gd name="T20" fmla="*/ 328 w 596"/>
                <a:gd name="T21" fmla="*/ 464 h 532"/>
                <a:gd name="T22" fmla="*/ 366 w 596"/>
                <a:gd name="T23" fmla="*/ 448 h 532"/>
                <a:gd name="T24" fmla="*/ 402 w 596"/>
                <a:gd name="T25" fmla="*/ 430 h 532"/>
                <a:gd name="T26" fmla="*/ 438 w 596"/>
                <a:gd name="T27" fmla="*/ 408 h 532"/>
                <a:gd name="T28" fmla="*/ 472 w 596"/>
                <a:gd name="T29" fmla="*/ 386 h 532"/>
                <a:gd name="T30" fmla="*/ 504 w 596"/>
                <a:gd name="T31" fmla="*/ 364 h 532"/>
                <a:gd name="T32" fmla="*/ 536 w 596"/>
                <a:gd name="T33" fmla="*/ 338 h 532"/>
                <a:gd name="T34" fmla="*/ 568 w 596"/>
                <a:gd name="T35" fmla="*/ 312 h 532"/>
                <a:gd name="T36" fmla="*/ 596 w 596"/>
                <a:gd name="T37" fmla="*/ 284 h 532"/>
                <a:gd name="T38" fmla="*/ 314 w 596"/>
                <a:gd name="T39" fmla="*/ 0 h 532"/>
                <a:gd name="T40" fmla="*/ 314 w 596"/>
                <a:gd name="T41" fmla="*/ 0 h 532"/>
                <a:gd name="T42" fmla="*/ 282 w 596"/>
                <a:gd name="T43" fmla="*/ 30 h 532"/>
                <a:gd name="T44" fmla="*/ 248 w 596"/>
                <a:gd name="T45" fmla="*/ 56 h 532"/>
                <a:gd name="T46" fmla="*/ 212 w 596"/>
                <a:gd name="T47" fmla="*/ 78 h 532"/>
                <a:gd name="T48" fmla="*/ 172 w 596"/>
                <a:gd name="T49" fmla="*/ 96 h 532"/>
                <a:gd name="T50" fmla="*/ 132 w 596"/>
                <a:gd name="T51" fmla="*/ 112 h 532"/>
                <a:gd name="T52" fmla="*/ 90 w 596"/>
                <a:gd name="T53" fmla="*/ 122 h 532"/>
                <a:gd name="T54" fmla="*/ 46 w 596"/>
                <a:gd name="T55" fmla="*/ 128 h 532"/>
                <a:gd name="T56" fmla="*/ 0 w 596"/>
                <a:gd name="T57" fmla="*/ 132 h 532"/>
                <a:gd name="T58" fmla="*/ 0 w 596"/>
                <a:gd name="T59" fmla="*/ 132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96" h="532">
                  <a:moveTo>
                    <a:pt x="0" y="132"/>
                  </a:moveTo>
                  <a:lnTo>
                    <a:pt x="0" y="532"/>
                  </a:lnTo>
                  <a:lnTo>
                    <a:pt x="0" y="532"/>
                  </a:lnTo>
                  <a:lnTo>
                    <a:pt x="44" y="530"/>
                  </a:lnTo>
                  <a:lnTo>
                    <a:pt x="86" y="526"/>
                  </a:lnTo>
                  <a:lnTo>
                    <a:pt x="128" y="522"/>
                  </a:lnTo>
                  <a:lnTo>
                    <a:pt x="170" y="514"/>
                  </a:lnTo>
                  <a:lnTo>
                    <a:pt x="210" y="504"/>
                  </a:lnTo>
                  <a:lnTo>
                    <a:pt x="250" y="494"/>
                  </a:lnTo>
                  <a:lnTo>
                    <a:pt x="290" y="480"/>
                  </a:lnTo>
                  <a:lnTo>
                    <a:pt x="328" y="464"/>
                  </a:lnTo>
                  <a:lnTo>
                    <a:pt x="366" y="448"/>
                  </a:lnTo>
                  <a:lnTo>
                    <a:pt x="402" y="430"/>
                  </a:lnTo>
                  <a:lnTo>
                    <a:pt x="438" y="408"/>
                  </a:lnTo>
                  <a:lnTo>
                    <a:pt x="472" y="386"/>
                  </a:lnTo>
                  <a:lnTo>
                    <a:pt x="504" y="364"/>
                  </a:lnTo>
                  <a:lnTo>
                    <a:pt x="536" y="338"/>
                  </a:lnTo>
                  <a:lnTo>
                    <a:pt x="568" y="312"/>
                  </a:lnTo>
                  <a:lnTo>
                    <a:pt x="596" y="284"/>
                  </a:lnTo>
                  <a:lnTo>
                    <a:pt x="314" y="0"/>
                  </a:lnTo>
                  <a:lnTo>
                    <a:pt x="314" y="0"/>
                  </a:lnTo>
                  <a:lnTo>
                    <a:pt x="282" y="30"/>
                  </a:lnTo>
                  <a:lnTo>
                    <a:pt x="248" y="56"/>
                  </a:lnTo>
                  <a:lnTo>
                    <a:pt x="212" y="78"/>
                  </a:lnTo>
                  <a:lnTo>
                    <a:pt x="172" y="96"/>
                  </a:lnTo>
                  <a:lnTo>
                    <a:pt x="132" y="112"/>
                  </a:lnTo>
                  <a:lnTo>
                    <a:pt x="90" y="122"/>
                  </a:lnTo>
                  <a:lnTo>
                    <a:pt x="46" y="128"/>
                  </a:lnTo>
                  <a:lnTo>
                    <a:pt x="0" y="132"/>
                  </a:lnTo>
                  <a:lnTo>
                    <a:pt x="0" y="132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-2679700" y="4049713"/>
              <a:ext cx="946150" cy="844550"/>
            </a:xfrm>
            <a:custGeom>
              <a:avLst/>
              <a:gdLst>
                <a:gd name="T0" fmla="*/ 282 w 596"/>
                <a:gd name="T1" fmla="*/ 0 h 532"/>
                <a:gd name="T2" fmla="*/ 0 w 596"/>
                <a:gd name="T3" fmla="*/ 284 h 532"/>
                <a:gd name="T4" fmla="*/ 0 w 596"/>
                <a:gd name="T5" fmla="*/ 284 h 532"/>
                <a:gd name="T6" fmla="*/ 28 w 596"/>
                <a:gd name="T7" fmla="*/ 312 h 532"/>
                <a:gd name="T8" fmla="*/ 60 w 596"/>
                <a:gd name="T9" fmla="*/ 338 h 532"/>
                <a:gd name="T10" fmla="*/ 92 w 596"/>
                <a:gd name="T11" fmla="*/ 364 h 532"/>
                <a:gd name="T12" fmla="*/ 124 w 596"/>
                <a:gd name="T13" fmla="*/ 386 h 532"/>
                <a:gd name="T14" fmla="*/ 158 w 596"/>
                <a:gd name="T15" fmla="*/ 408 h 532"/>
                <a:gd name="T16" fmla="*/ 194 w 596"/>
                <a:gd name="T17" fmla="*/ 430 h 532"/>
                <a:gd name="T18" fmla="*/ 230 w 596"/>
                <a:gd name="T19" fmla="*/ 448 h 532"/>
                <a:gd name="T20" fmla="*/ 268 w 596"/>
                <a:gd name="T21" fmla="*/ 464 h 532"/>
                <a:gd name="T22" fmla="*/ 306 w 596"/>
                <a:gd name="T23" fmla="*/ 480 h 532"/>
                <a:gd name="T24" fmla="*/ 346 w 596"/>
                <a:gd name="T25" fmla="*/ 494 h 532"/>
                <a:gd name="T26" fmla="*/ 386 w 596"/>
                <a:gd name="T27" fmla="*/ 504 h 532"/>
                <a:gd name="T28" fmla="*/ 426 w 596"/>
                <a:gd name="T29" fmla="*/ 514 h 532"/>
                <a:gd name="T30" fmla="*/ 468 w 596"/>
                <a:gd name="T31" fmla="*/ 522 h 532"/>
                <a:gd name="T32" fmla="*/ 510 w 596"/>
                <a:gd name="T33" fmla="*/ 526 h 532"/>
                <a:gd name="T34" fmla="*/ 552 w 596"/>
                <a:gd name="T35" fmla="*/ 530 h 532"/>
                <a:gd name="T36" fmla="*/ 596 w 596"/>
                <a:gd name="T37" fmla="*/ 532 h 532"/>
                <a:gd name="T38" fmla="*/ 596 w 596"/>
                <a:gd name="T39" fmla="*/ 132 h 532"/>
                <a:gd name="T40" fmla="*/ 596 w 596"/>
                <a:gd name="T41" fmla="*/ 132 h 532"/>
                <a:gd name="T42" fmla="*/ 550 w 596"/>
                <a:gd name="T43" fmla="*/ 128 h 532"/>
                <a:gd name="T44" fmla="*/ 506 w 596"/>
                <a:gd name="T45" fmla="*/ 122 h 532"/>
                <a:gd name="T46" fmla="*/ 464 w 596"/>
                <a:gd name="T47" fmla="*/ 112 h 532"/>
                <a:gd name="T48" fmla="*/ 424 w 596"/>
                <a:gd name="T49" fmla="*/ 96 h 532"/>
                <a:gd name="T50" fmla="*/ 384 w 596"/>
                <a:gd name="T51" fmla="*/ 78 h 532"/>
                <a:gd name="T52" fmla="*/ 348 w 596"/>
                <a:gd name="T53" fmla="*/ 56 h 532"/>
                <a:gd name="T54" fmla="*/ 314 w 596"/>
                <a:gd name="T55" fmla="*/ 30 h 532"/>
                <a:gd name="T56" fmla="*/ 282 w 596"/>
                <a:gd name="T57" fmla="*/ 0 h 532"/>
                <a:gd name="T58" fmla="*/ 282 w 596"/>
                <a:gd name="T59" fmla="*/ 0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96" h="532">
                  <a:moveTo>
                    <a:pt x="282" y="0"/>
                  </a:moveTo>
                  <a:lnTo>
                    <a:pt x="0" y="284"/>
                  </a:lnTo>
                  <a:lnTo>
                    <a:pt x="0" y="284"/>
                  </a:lnTo>
                  <a:lnTo>
                    <a:pt x="28" y="312"/>
                  </a:lnTo>
                  <a:lnTo>
                    <a:pt x="60" y="338"/>
                  </a:lnTo>
                  <a:lnTo>
                    <a:pt x="92" y="364"/>
                  </a:lnTo>
                  <a:lnTo>
                    <a:pt x="124" y="386"/>
                  </a:lnTo>
                  <a:lnTo>
                    <a:pt x="158" y="408"/>
                  </a:lnTo>
                  <a:lnTo>
                    <a:pt x="194" y="430"/>
                  </a:lnTo>
                  <a:lnTo>
                    <a:pt x="230" y="448"/>
                  </a:lnTo>
                  <a:lnTo>
                    <a:pt x="268" y="464"/>
                  </a:lnTo>
                  <a:lnTo>
                    <a:pt x="306" y="480"/>
                  </a:lnTo>
                  <a:lnTo>
                    <a:pt x="346" y="494"/>
                  </a:lnTo>
                  <a:lnTo>
                    <a:pt x="386" y="504"/>
                  </a:lnTo>
                  <a:lnTo>
                    <a:pt x="426" y="514"/>
                  </a:lnTo>
                  <a:lnTo>
                    <a:pt x="468" y="522"/>
                  </a:lnTo>
                  <a:lnTo>
                    <a:pt x="510" y="526"/>
                  </a:lnTo>
                  <a:lnTo>
                    <a:pt x="552" y="530"/>
                  </a:lnTo>
                  <a:lnTo>
                    <a:pt x="596" y="532"/>
                  </a:lnTo>
                  <a:lnTo>
                    <a:pt x="596" y="132"/>
                  </a:lnTo>
                  <a:lnTo>
                    <a:pt x="596" y="132"/>
                  </a:lnTo>
                  <a:lnTo>
                    <a:pt x="550" y="128"/>
                  </a:lnTo>
                  <a:lnTo>
                    <a:pt x="506" y="122"/>
                  </a:lnTo>
                  <a:lnTo>
                    <a:pt x="464" y="112"/>
                  </a:lnTo>
                  <a:lnTo>
                    <a:pt x="424" y="96"/>
                  </a:lnTo>
                  <a:lnTo>
                    <a:pt x="384" y="78"/>
                  </a:lnTo>
                  <a:lnTo>
                    <a:pt x="348" y="56"/>
                  </a:lnTo>
                  <a:lnTo>
                    <a:pt x="314" y="30"/>
                  </a:lnTo>
                  <a:lnTo>
                    <a:pt x="282" y="0"/>
                  </a:lnTo>
                  <a:lnTo>
                    <a:pt x="282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-3073400" y="2605088"/>
              <a:ext cx="841375" cy="949325"/>
            </a:xfrm>
            <a:custGeom>
              <a:avLst/>
              <a:gdLst>
                <a:gd name="T0" fmla="*/ 530 w 530"/>
                <a:gd name="T1" fmla="*/ 284 h 598"/>
                <a:gd name="T2" fmla="*/ 248 w 530"/>
                <a:gd name="T3" fmla="*/ 0 h 598"/>
                <a:gd name="T4" fmla="*/ 248 w 530"/>
                <a:gd name="T5" fmla="*/ 0 h 598"/>
                <a:gd name="T6" fmla="*/ 220 w 530"/>
                <a:gd name="T7" fmla="*/ 30 h 598"/>
                <a:gd name="T8" fmla="*/ 192 w 530"/>
                <a:gd name="T9" fmla="*/ 60 h 598"/>
                <a:gd name="T10" fmla="*/ 168 w 530"/>
                <a:gd name="T11" fmla="*/ 92 h 598"/>
                <a:gd name="T12" fmla="*/ 144 w 530"/>
                <a:gd name="T13" fmla="*/ 126 h 598"/>
                <a:gd name="T14" fmla="*/ 122 w 530"/>
                <a:gd name="T15" fmla="*/ 160 h 598"/>
                <a:gd name="T16" fmla="*/ 102 w 530"/>
                <a:gd name="T17" fmla="*/ 194 h 598"/>
                <a:gd name="T18" fmla="*/ 84 w 530"/>
                <a:gd name="T19" fmla="*/ 232 h 598"/>
                <a:gd name="T20" fmla="*/ 66 w 530"/>
                <a:gd name="T21" fmla="*/ 268 h 598"/>
                <a:gd name="T22" fmla="*/ 52 w 530"/>
                <a:gd name="T23" fmla="*/ 306 h 598"/>
                <a:gd name="T24" fmla="*/ 38 w 530"/>
                <a:gd name="T25" fmla="*/ 346 h 598"/>
                <a:gd name="T26" fmla="*/ 26 w 530"/>
                <a:gd name="T27" fmla="*/ 386 h 598"/>
                <a:gd name="T28" fmla="*/ 18 w 530"/>
                <a:gd name="T29" fmla="*/ 426 h 598"/>
                <a:gd name="T30" fmla="*/ 10 w 530"/>
                <a:gd name="T31" fmla="*/ 468 h 598"/>
                <a:gd name="T32" fmla="*/ 4 w 530"/>
                <a:gd name="T33" fmla="*/ 510 h 598"/>
                <a:gd name="T34" fmla="*/ 2 w 530"/>
                <a:gd name="T35" fmla="*/ 554 h 598"/>
                <a:gd name="T36" fmla="*/ 0 w 530"/>
                <a:gd name="T37" fmla="*/ 598 h 598"/>
                <a:gd name="T38" fmla="*/ 400 w 530"/>
                <a:gd name="T39" fmla="*/ 598 h 598"/>
                <a:gd name="T40" fmla="*/ 400 w 530"/>
                <a:gd name="T41" fmla="*/ 598 h 598"/>
                <a:gd name="T42" fmla="*/ 402 w 530"/>
                <a:gd name="T43" fmla="*/ 552 h 598"/>
                <a:gd name="T44" fmla="*/ 410 w 530"/>
                <a:gd name="T45" fmla="*/ 508 h 598"/>
                <a:gd name="T46" fmla="*/ 420 w 530"/>
                <a:gd name="T47" fmla="*/ 466 h 598"/>
                <a:gd name="T48" fmla="*/ 434 w 530"/>
                <a:gd name="T49" fmla="*/ 424 h 598"/>
                <a:gd name="T50" fmla="*/ 454 w 530"/>
                <a:gd name="T51" fmla="*/ 386 h 598"/>
                <a:gd name="T52" fmla="*/ 476 w 530"/>
                <a:gd name="T53" fmla="*/ 348 h 598"/>
                <a:gd name="T54" fmla="*/ 502 w 530"/>
                <a:gd name="T55" fmla="*/ 314 h 598"/>
                <a:gd name="T56" fmla="*/ 530 w 530"/>
                <a:gd name="T57" fmla="*/ 284 h 598"/>
                <a:gd name="T58" fmla="*/ 530 w 530"/>
                <a:gd name="T59" fmla="*/ 284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0" h="598">
                  <a:moveTo>
                    <a:pt x="530" y="284"/>
                  </a:moveTo>
                  <a:lnTo>
                    <a:pt x="248" y="0"/>
                  </a:lnTo>
                  <a:lnTo>
                    <a:pt x="248" y="0"/>
                  </a:lnTo>
                  <a:lnTo>
                    <a:pt x="220" y="30"/>
                  </a:lnTo>
                  <a:lnTo>
                    <a:pt x="192" y="60"/>
                  </a:lnTo>
                  <a:lnTo>
                    <a:pt x="168" y="92"/>
                  </a:lnTo>
                  <a:lnTo>
                    <a:pt x="144" y="126"/>
                  </a:lnTo>
                  <a:lnTo>
                    <a:pt x="122" y="160"/>
                  </a:lnTo>
                  <a:lnTo>
                    <a:pt x="102" y="194"/>
                  </a:lnTo>
                  <a:lnTo>
                    <a:pt x="84" y="232"/>
                  </a:lnTo>
                  <a:lnTo>
                    <a:pt x="66" y="268"/>
                  </a:lnTo>
                  <a:lnTo>
                    <a:pt x="52" y="306"/>
                  </a:lnTo>
                  <a:lnTo>
                    <a:pt x="38" y="346"/>
                  </a:lnTo>
                  <a:lnTo>
                    <a:pt x="26" y="386"/>
                  </a:lnTo>
                  <a:lnTo>
                    <a:pt x="18" y="426"/>
                  </a:lnTo>
                  <a:lnTo>
                    <a:pt x="10" y="468"/>
                  </a:lnTo>
                  <a:lnTo>
                    <a:pt x="4" y="510"/>
                  </a:lnTo>
                  <a:lnTo>
                    <a:pt x="2" y="554"/>
                  </a:lnTo>
                  <a:lnTo>
                    <a:pt x="0" y="598"/>
                  </a:lnTo>
                  <a:lnTo>
                    <a:pt x="400" y="598"/>
                  </a:lnTo>
                  <a:lnTo>
                    <a:pt x="400" y="598"/>
                  </a:lnTo>
                  <a:lnTo>
                    <a:pt x="402" y="552"/>
                  </a:lnTo>
                  <a:lnTo>
                    <a:pt x="410" y="508"/>
                  </a:lnTo>
                  <a:lnTo>
                    <a:pt x="420" y="466"/>
                  </a:lnTo>
                  <a:lnTo>
                    <a:pt x="434" y="424"/>
                  </a:lnTo>
                  <a:lnTo>
                    <a:pt x="454" y="386"/>
                  </a:lnTo>
                  <a:lnTo>
                    <a:pt x="476" y="348"/>
                  </a:lnTo>
                  <a:lnTo>
                    <a:pt x="502" y="314"/>
                  </a:lnTo>
                  <a:lnTo>
                    <a:pt x="530" y="284"/>
                  </a:lnTo>
                  <a:lnTo>
                    <a:pt x="530" y="284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-3073400" y="3554413"/>
              <a:ext cx="841375" cy="946150"/>
            </a:xfrm>
            <a:custGeom>
              <a:avLst/>
              <a:gdLst>
                <a:gd name="T0" fmla="*/ 400 w 530"/>
                <a:gd name="T1" fmla="*/ 0 h 596"/>
                <a:gd name="T2" fmla="*/ 0 w 530"/>
                <a:gd name="T3" fmla="*/ 0 h 596"/>
                <a:gd name="T4" fmla="*/ 0 w 530"/>
                <a:gd name="T5" fmla="*/ 0 h 596"/>
                <a:gd name="T6" fmla="*/ 2 w 530"/>
                <a:gd name="T7" fmla="*/ 42 h 596"/>
                <a:gd name="T8" fmla="*/ 4 w 530"/>
                <a:gd name="T9" fmla="*/ 86 h 596"/>
                <a:gd name="T10" fmla="*/ 10 w 530"/>
                <a:gd name="T11" fmla="*/ 128 h 596"/>
                <a:gd name="T12" fmla="*/ 18 w 530"/>
                <a:gd name="T13" fmla="*/ 170 h 596"/>
                <a:gd name="T14" fmla="*/ 26 w 530"/>
                <a:gd name="T15" fmla="*/ 210 h 596"/>
                <a:gd name="T16" fmla="*/ 38 w 530"/>
                <a:gd name="T17" fmla="*/ 250 h 596"/>
                <a:gd name="T18" fmla="*/ 52 w 530"/>
                <a:gd name="T19" fmla="*/ 290 h 596"/>
                <a:gd name="T20" fmla="*/ 66 w 530"/>
                <a:gd name="T21" fmla="*/ 328 h 596"/>
                <a:gd name="T22" fmla="*/ 84 w 530"/>
                <a:gd name="T23" fmla="*/ 364 h 596"/>
                <a:gd name="T24" fmla="*/ 102 w 530"/>
                <a:gd name="T25" fmla="*/ 402 h 596"/>
                <a:gd name="T26" fmla="*/ 122 w 530"/>
                <a:gd name="T27" fmla="*/ 436 h 596"/>
                <a:gd name="T28" fmla="*/ 144 w 530"/>
                <a:gd name="T29" fmla="*/ 470 h 596"/>
                <a:gd name="T30" fmla="*/ 168 w 530"/>
                <a:gd name="T31" fmla="*/ 504 h 596"/>
                <a:gd name="T32" fmla="*/ 192 w 530"/>
                <a:gd name="T33" fmla="*/ 536 h 596"/>
                <a:gd name="T34" fmla="*/ 220 w 530"/>
                <a:gd name="T35" fmla="*/ 566 h 596"/>
                <a:gd name="T36" fmla="*/ 248 w 530"/>
                <a:gd name="T37" fmla="*/ 596 h 596"/>
                <a:gd name="T38" fmla="*/ 530 w 530"/>
                <a:gd name="T39" fmla="*/ 312 h 596"/>
                <a:gd name="T40" fmla="*/ 530 w 530"/>
                <a:gd name="T41" fmla="*/ 312 h 596"/>
                <a:gd name="T42" fmla="*/ 502 w 530"/>
                <a:gd name="T43" fmla="*/ 282 h 596"/>
                <a:gd name="T44" fmla="*/ 476 w 530"/>
                <a:gd name="T45" fmla="*/ 248 h 596"/>
                <a:gd name="T46" fmla="*/ 454 w 530"/>
                <a:gd name="T47" fmla="*/ 210 h 596"/>
                <a:gd name="T48" fmla="*/ 434 w 530"/>
                <a:gd name="T49" fmla="*/ 172 h 596"/>
                <a:gd name="T50" fmla="*/ 420 w 530"/>
                <a:gd name="T51" fmla="*/ 130 h 596"/>
                <a:gd name="T52" fmla="*/ 410 w 530"/>
                <a:gd name="T53" fmla="*/ 88 h 596"/>
                <a:gd name="T54" fmla="*/ 402 w 530"/>
                <a:gd name="T55" fmla="*/ 44 h 596"/>
                <a:gd name="T56" fmla="*/ 400 w 530"/>
                <a:gd name="T57" fmla="*/ 0 h 596"/>
                <a:gd name="T58" fmla="*/ 400 w 530"/>
                <a:gd name="T59" fmla="*/ 0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0" h="596">
                  <a:moveTo>
                    <a:pt x="40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42"/>
                  </a:lnTo>
                  <a:lnTo>
                    <a:pt x="4" y="86"/>
                  </a:lnTo>
                  <a:lnTo>
                    <a:pt x="10" y="128"/>
                  </a:lnTo>
                  <a:lnTo>
                    <a:pt x="18" y="170"/>
                  </a:lnTo>
                  <a:lnTo>
                    <a:pt x="26" y="210"/>
                  </a:lnTo>
                  <a:lnTo>
                    <a:pt x="38" y="250"/>
                  </a:lnTo>
                  <a:lnTo>
                    <a:pt x="52" y="290"/>
                  </a:lnTo>
                  <a:lnTo>
                    <a:pt x="66" y="328"/>
                  </a:lnTo>
                  <a:lnTo>
                    <a:pt x="84" y="364"/>
                  </a:lnTo>
                  <a:lnTo>
                    <a:pt x="102" y="402"/>
                  </a:lnTo>
                  <a:lnTo>
                    <a:pt x="122" y="436"/>
                  </a:lnTo>
                  <a:lnTo>
                    <a:pt x="144" y="470"/>
                  </a:lnTo>
                  <a:lnTo>
                    <a:pt x="168" y="504"/>
                  </a:lnTo>
                  <a:lnTo>
                    <a:pt x="192" y="536"/>
                  </a:lnTo>
                  <a:lnTo>
                    <a:pt x="220" y="566"/>
                  </a:lnTo>
                  <a:lnTo>
                    <a:pt x="248" y="596"/>
                  </a:lnTo>
                  <a:lnTo>
                    <a:pt x="530" y="312"/>
                  </a:lnTo>
                  <a:lnTo>
                    <a:pt x="530" y="312"/>
                  </a:lnTo>
                  <a:lnTo>
                    <a:pt x="502" y="282"/>
                  </a:lnTo>
                  <a:lnTo>
                    <a:pt x="476" y="248"/>
                  </a:lnTo>
                  <a:lnTo>
                    <a:pt x="454" y="210"/>
                  </a:lnTo>
                  <a:lnTo>
                    <a:pt x="434" y="172"/>
                  </a:lnTo>
                  <a:lnTo>
                    <a:pt x="420" y="130"/>
                  </a:lnTo>
                  <a:lnTo>
                    <a:pt x="410" y="88"/>
                  </a:lnTo>
                  <a:lnTo>
                    <a:pt x="402" y="44"/>
                  </a:lnTo>
                  <a:lnTo>
                    <a:pt x="400" y="0"/>
                  </a:lnTo>
                  <a:lnTo>
                    <a:pt x="400" y="0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-2438400" y="2849563"/>
              <a:ext cx="1409700" cy="1409700"/>
            </a:xfrm>
            <a:custGeom>
              <a:avLst/>
              <a:gdLst>
                <a:gd name="T0" fmla="*/ 444 w 888"/>
                <a:gd name="T1" fmla="*/ 0 h 888"/>
                <a:gd name="T2" fmla="*/ 354 w 888"/>
                <a:gd name="T3" fmla="*/ 8 h 888"/>
                <a:gd name="T4" fmla="*/ 272 w 888"/>
                <a:gd name="T5" fmla="*/ 34 h 888"/>
                <a:gd name="T6" fmla="*/ 196 w 888"/>
                <a:gd name="T7" fmla="*/ 74 h 888"/>
                <a:gd name="T8" fmla="*/ 130 w 888"/>
                <a:gd name="T9" fmla="*/ 130 h 888"/>
                <a:gd name="T10" fmla="*/ 102 w 888"/>
                <a:gd name="T11" fmla="*/ 160 h 888"/>
                <a:gd name="T12" fmla="*/ 54 w 888"/>
                <a:gd name="T13" fmla="*/ 232 h 888"/>
                <a:gd name="T14" fmla="*/ 20 w 888"/>
                <a:gd name="T15" fmla="*/ 312 h 888"/>
                <a:gd name="T16" fmla="*/ 2 w 888"/>
                <a:gd name="T17" fmla="*/ 398 h 888"/>
                <a:gd name="T18" fmla="*/ 0 w 888"/>
                <a:gd name="T19" fmla="*/ 444 h 888"/>
                <a:gd name="T20" fmla="*/ 10 w 888"/>
                <a:gd name="T21" fmla="*/ 532 h 888"/>
                <a:gd name="T22" fmla="*/ 34 w 888"/>
                <a:gd name="T23" fmla="*/ 616 h 888"/>
                <a:gd name="T24" fmla="*/ 76 w 888"/>
                <a:gd name="T25" fmla="*/ 692 h 888"/>
                <a:gd name="T26" fmla="*/ 130 w 888"/>
                <a:gd name="T27" fmla="*/ 756 h 888"/>
                <a:gd name="T28" fmla="*/ 162 w 888"/>
                <a:gd name="T29" fmla="*/ 786 h 888"/>
                <a:gd name="T30" fmla="*/ 232 w 888"/>
                <a:gd name="T31" fmla="*/ 834 h 888"/>
                <a:gd name="T32" fmla="*/ 312 w 888"/>
                <a:gd name="T33" fmla="*/ 868 h 888"/>
                <a:gd name="T34" fmla="*/ 398 w 888"/>
                <a:gd name="T35" fmla="*/ 884 h 888"/>
                <a:gd name="T36" fmla="*/ 444 w 888"/>
                <a:gd name="T37" fmla="*/ 888 h 888"/>
                <a:gd name="T38" fmla="*/ 534 w 888"/>
                <a:gd name="T39" fmla="*/ 878 h 888"/>
                <a:gd name="T40" fmla="*/ 616 w 888"/>
                <a:gd name="T41" fmla="*/ 852 h 888"/>
                <a:gd name="T42" fmla="*/ 692 w 888"/>
                <a:gd name="T43" fmla="*/ 812 h 888"/>
                <a:gd name="T44" fmla="*/ 758 w 888"/>
                <a:gd name="T45" fmla="*/ 756 h 888"/>
                <a:gd name="T46" fmla="*/ 786 w 888"/>
                <a:gd name="T47" fmla="*/ 726 h 888"/>
                <a:gd name="T48" fmla="*/ 834 w 888"/>
                <a:gd name="T49" fmla="*/ 654 h 888"/>
                <a:gd name="T50" fmla="*/ 868 w 888"/>
                <a:gd name="T51" fmla="*/ 574 h 888"/>
                <a:gd name="T52" fmla="*/ 886 w 888"/>
                <a:gd name="T53" fmla="*/ 488 h 888"/>
                <a:gd name="T54" fmla="*/ 888 w 888"/>
                <a:gd name="T55" fmla="*/ 444 h 888"/>
                <a:gd name="T56" fmla="*/ 878 w 888"/>
                <a:gd name="T57" fmla="*/ 354 h 888"/>
                <a:gd name="T58" fmla="*/ 854 w 888"/>
                <a:gd name="T59" fmla="*/ 270 h 888"/>
                <a:gd name="T60" fmla="*/ 812 w 888"/>
                <a:gd name="T61" fmla="*/ 194 h 888"/>
                <a:gd name="T62" fmla="*/ 758 w 888"/>
                <a:gd name="T63" fmla="*/ 130 h 888"/>
                <a:gd name="T64" fmla="*/ 726 w 888"/>
                <a:gd name="T65" fmla="*/ 100 h 888"/>
                <a:gd name="T66" fmla="*/ 656 w 888"/>
                <a:gd name="T67" fmla="*/ 52 h 888"/>
                <a:gd name="T68" fmla="*/ 576 w 888"/>
                <a:gd name="T69" fmla="*/ 18 h 888"/>
                <a:gd name="T70" fmla="*/ 490 w 888"/>
                <a:gd name="T71" fmla="*/ 2 h 888"/>
                <a:gd name="T72" fmla="*/ 444 w 888"/>
                <a:gd name="T73" fmla="*/ 0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88" h="888">
                  <a:moveTo>
                    <a:pt x="444" y="0"/>
                  </a:moveTo>
                  <a:lnTo>
                    <a:pt x="444" y="0"/>
                  </a:lnTo>
                  <a:lnTo>
                    <a:pt x="398" y="2"/>
                  </a:lnTo>
                  <a:lnTo>
                    <a:pt x="354" y="8"/>
                  </a:lnTo>
                  <a:lnTo>
                    <a:pt x="312" y="18"/>
                  </a:lnTo>
                  <a:lnTo>
                    <a:pt x="272" y="34"/>
                  </a:lnTo>
                  <a:lnTo>
                    <a:pt x="232" y="52"/>
                  </a:lnTo>
                  <a:lnTo>
                    <a:pt x="196" y="74"/>
                  </a:lnTo>
                  <a:lnTo>
                    <a:pt x="162" y="100"/>
                  </a:lnTo>
                  <a:lnTo>
                    <a:pt x="130" y="130"/>
                  </a:lnTo>
                  <a:lnTo>
                    <a:pt x="130" y="130"/>
                  </a:lnTo>
                  <a:lnTo>
                    <a:pt x="102" y="160"/>
                  </a:lnTo>
                  <a:lnTo>
                    <a:pt x="76" y="194"/>
                  </a:lnTo>
                  <a:lnTo>
                    <a:pt x="54" y="232"/>
                  </a:lnTo>
                  <a:lnTo>
                    <a:pt x="34" y="270"/>
                  </a:lnTo>
                  <a:lnTo>
                    <a:pt x="20" y="312"/>
                  </a:lnTo>
                  <a:lnTo>
                    <a:pt x="10" y="354"/>
                  </a:lnTo>
                  <a:lnTo>
                    <a:pt x="2" y="398"/>
                  </a:lnTo>
                  <a:lnTo>
                    <a:pt x="0" y="444"/>
                  </a:lnTo>
                  <a:lnTo>
                    <a:pt x="0" y="444"/>
                  </a:lnTo>
                  <a:lnTo>
                    <a:pt x="2" y="488"/>
                  </a:lnTo>
                  <a:lnTo>
                    <a:pt x="10" y="532"/>
                  </a:lnTo>
                  <a:lnTo>
                    <a:pt x="20" y="574"/>
                  </a:lnTo>
                  <a:lnTo>
                    <a:pt x="34" y="616"/>
                  </a:lnTo>
                  <a:lnTo>
                    <a:pt x="54" y="654"/>
                  </a:lnTo>
                  <a:lnTo>
                    <a:pt x="76" y="692"/>
                  </a:lnTo>
                  <a:lnTo>
                    <a:pt x="102" y="726"/>
                  </a:lnTo>
                  <a:lnTo>
                    <a:pt x="130" y="756"/>
                  </a:lnTo>
                  <a:lnTo>
                    <a:pt x="130" y="756"/>
                  </a:lnTo>
                  <a:lnTo>
                    <a:pt x="162" y="786"/>
                  </a:lnTo>
                  <a:lnTo>
                    <a:pt x="196" y="812"/>
                  </a:lnTo>
                  <a:lnTo>
                    <a:pt x="232" y="834"/>
                  </a:lnTo>
                  <a:lnTo>
                    <a:pt x="272" y="852"/>
                  </a:lnTo>
                  <a:lnTo>
                    <a:pt x="312" y="868"/>
                  </a:lnTo>
                  <a:lnTo>
                    <a:pt x="354" y="878"/>
                  </a:lnTo>
                  <a:lnTo>
                    <a:pt x="398" y="884"/>
                  </a:lnTo>
                  <a:lnTo>
                    <a:pt x="444" y="888"/>
                  </a:lnTo>
                  <a:lnTo>
                    <a:pt x="444" y="888"/>
                  </a:lnTo>
                  <a:lnTo>
                    <a:pt x="490" y="884"/>
                  </a:lnTo>
                  <a:lnTo>
                    <a:pt x="534" y="878"/>
                  </a:lnTo>
                  <a:lnTo>
                    <a:pt x="576" y="868"/>
                  </a:lnTo>
                  <a:lnTo>
                    <a:pt x="616" y="852"/>
                  </a:lnTo>
                  <a:lnTo>
                    <a:pt x="656" y="834"/>
                  </a:lnTo>
                  <a:lnTo>
                    <a:pt x="692" y="812"/>
                  </a:lnTo>
                  <a:lnTo>
                    <a:pt x="726" y="786"/>
                  </a:lnTo>
                  <a:lnTo>
                    <a:pt x="758" y="756"/>
                  </a:lnTo>
                  <a:lnTo>
                    <a:pt x="758" y="756"/>
                  </a:lnTo>
                  <a:lnTo>
                    <a:pt x="786" y="726"/>
                  </a:lnTo>
                  <a:lnTo>
                    <a:pt x="812" y="692"/>
                  </a:lnTo>
                  <a:lnTo>
                    <a:pt x="834" y="654"/>
                  </a:lnTo>
                  <a:lnTo>
                    <a:pt x="854" y="616"/>
                  </a:lnTo>
                  <a:lnTo>
                    <a:pt x="868" y="574"/>
                  </a:lnTo>
                  <a:lnTo>
                    <a:pt x="878" y="532"/>
                  </a:lnTo>
                  <a:lnTo>
                    <a:pt x="886" y="488"/>
                  </a:lnTo>
                  <a:lnTo>
                    <a:pt x="888" y="444"/>
                  </a:lnTo>
                  <a:lnTo>
                    <a:pt x="888" y="444"/>
                  </a:lnTo>
                  <a:lnTo>
                    <a:pt x="886" y="398"/>
                  </a:lnTo>
                  <a:lnTo>
                    <a:pt x="878" y="354"/>
                  </a:lnTo>
                  <a:lnTo>
                    <a:pt x="868" y="312"/>
                  </a:lnTo>
                  <a:lnTo>
                    <a:pt x="854" y="270"/>
                  </a:lnTo>
                  <a:lnTo>
                    <a:pt x="834" y="232"/>
                  </a:lnTo>
                  <a:lnTo>
                    <a:pt x="812" y="194"/>
                  </a:lnTo>
                  <a:lnTo>
                    <a:pt x="786" y="160"/>
                  </a:lnTo>
                  <a:lnTo>
                    <a:pt x="758" y="130"/>
                  </a:lnTo>
                  <a:lnTo>
                    <a:pt x="758" y="130"/>
                  </a:lnTo>
                  <a:lnTo>
                    <a:pt x="726" y="100"/>
                  </a:lnTo>
                  <a:lnTo>
                    <a:pt x="692" y="74"/>
                  </a:lnTo>
                  <a:lnTo>
                    <a:pt x="656" y="52"/>
                  </a:lnTo>
                  <a:lnTo>
                    <a:pt x="616" y="34"/>
                  </a:lnTo>
                  <a:lnTo>
                    <a:pt x="576" y="18"/>
                  </a:lnTo>
                  <a:lnTo>
                    <a:pt x="534" y="8"/>
                  </a:lnTo>
                  <a:lnTo>
                    <a:pt x="490" y="2"/>
                  </a:lnTo>
                  <a:lnTo>
                    <a:pt x="444" y="0"/>
                  </a:lnTo>
                  <a:lnTo>
                    <a:pt x="444" y="0"/>
                  </a:lnTo>
                  <a:close/>
                </a:path>
              </a:pathLst>
            </a:custGeom>
            <a:noFill/>
            <a:ln w="28575">
              <a:solidFill>
                <a:srgbClr val="0D65AC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21"/>
            <p:cNvSpPr/>
            <p:nvPr/>
          </p:nvSpPr>
          <p:spPr>
            <a:xfrm>
              <a:off x="-3073400" y="2214564"/>
              <a:ext cx="2701376" cy="2701376"/>
            </a:xfrm>
            <a:prstGeom prst="ellipse">
              <a:avLst/>
            </a:prstGeom>
            <a:noFill/>
            <a:ln>
              <a:solidFill>
                <a:srgbClr val="0D65A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72" name="TextBox 71"/>
          <p:cNvSpPr txBox="1"/>
          <p:nvPr/>
        </p:nvSpPr>
        <p:spPr>
          <a:xfrm>
            <a:off x="474614" y="3896665"/>
            <a:ext cx="2040345" cy="127727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indent="-171450"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Wingdings 3" pitchFamily="18" charset="2"/>
              <a:buChar char="}"/>
            </a:pPr>
            <a:r>
              <a:rPr lang="en-US" sz="1200" b="1" dirty="0" err="1" smtClean="0"/>
              <a:t>Lorem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Ipsum</a:t>
            </a:r>
            <a:r>
              <a:rPr lang="en-US" sz="1200" dirty="0" smtClean="0"/>
              <a:t> is simply dummy text of the printing and typesetting</a:t>
            </a:r>
          </a:p>
          <a:p>
            <a:pPr marL="171450" indent="-171450"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Wingdings 3" pitchFamily="18" charset="2"/>
              <a:buChar char="}"/>
            </a:pPr>
            <a:r>
              <a:rPr lang="en-US" sz="1200" b="1" dirty="0" err="1"/>
              <a:t>Lorem</a:t>
            </a:r>
            <a:r>
              <a:rPr lang="en-US" sz="1200" b="1" dirty="0"/>
              <a:t> </a:t>
            </a:r>
            <a:r>
              <a:rPr lang="en-US" sz="1200" b="1" dirty="0" err="1"/>
              <a:t>Ipsum</a:t>
            </a:r>
            <a:r>
              <a:rPr lang="en-US" sz="1200" dirty="0"/>
              <a:t> is simply dummy text of the printing and </a:t>
            </a:r>
            <a:r>
              <a:rPr lang="en-US" sz="1200" dirty="0" smtClean="0"/>
              <a:t>typesetting</a:t>
            </a:r>
            <a:endParaRPr lang="en-US" sz="1200" dirty="0"/>
          </a:p>
        </p:txBody>
      </p:sp>
      <p:sp>
        <p:nvSpPr>
          <p:cNvPr id="73" name="TextBox 72"/>
          <p:cNvSpPr txBox="1"/>
          <p:nvPr/>
        </p:nvSpPr>
        <p:spPr>
          <a:xfrm>
            <a:off x="2554495" y="3896665"/>
            <a:ext cx="2040345" cy="127727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indent="-171450"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Wingdings 3" pitchFamily="18" charset="2"/>
              <a:buChar char="}"/>
            </a:pPr>
            <a:r>
              <a:rPr lang="en-US" sz="1200" b="1" dirty="0" err="1" smtClean="0"/>
              <a:t>Lorem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Ipsum</a:t>
            </a:r>
            <a:r>
              <a:rPr lang="en-US" sz="1200" dirty="0" smtClean="0"/>
              <a:t> is simply dummy text of the printing and typesetting</a:t>
            </a:r>
          </a:p>
          <a:p>
            <a:pPr marL="171450" indent="-171450"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Wingdings 3" pitchFamily="18" charset="2"/>
              <a:buChar char="}"/>
            </a:pPr>
            <a:r>
              <a:rPr lang="en-US" sz="1200" b="1" dirty="0" err="1"/>
              <a:t>Lorem</a:t>
            </a:r>
            <a:r>
              <a:rPr lang="en-US" sz="1200" b="1" dirty="0"/>
              <a:t> </a:t>
            </a:r>
            <a:r>
              <a:rPr lang="en-US" sz="1200" b="1" dirty="0" err="1"/>
              <a:t>Ipsum</a:t>
            </a:r>
            <a:r>
              <a:rPr lang="en-US" sz="1200" dirty="0"/>
              <a:t> is simply dummy text of the printing and </a:t>
            </a:r>
            <a:r>
              <a:rPr lang="en-US" sz="1200" dirty="0" smtClean="0"/>
              <a:t>typesetting</a:t>
            </a:r>
            <a:endParaRPr lang="en-US" sz="1200" dirty="0"/>
          </a:p>
        </p:txBody>
      </p:sp>
      <p:sp>
        <p:nvSpPr>
          <p:cNvPr id="74" name="TextBox 73"/>
          <p:cNvSpPr txBox="1"/>
          <p:nvPr/>
        </p:nvSpPr>
        <p:spPr>
          <a:xfrm>
            <a:off x="4666324" y="3896665"/>
            <a:ext cx="2040345" cy="127727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indent="-171450"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Wingdings 3" pitchFamily="18" charset="2"/>
              <a:buChar char="}"/>
            </a:pPr>
            <a:r>
              <a:rPr lang="en-US" sz="1200" b="1" dirty="0" err="1" smtClean="0"/>
              <a:t>Lorem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Ipsum</a:t>
            </a:r>
            <a:r>
              <a:rPr lang="en-US" sz="1200" dirty="0" smtClean="0"/>
              <a:t> is simply dummy text of the printing and typesetting</a:t>
            </a:r>
          </a:p>
          <a:p>
            <a:pPr marL="171450" indent="-171450"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Wingdings 3" pitchFamily="18" charset="2"/>
              <a:buChar char="}"/>
            </a:pPr>
            <a:r>
              <a:rPr lang="en-US" sz="1200" b="1" dirty="0" err="1"/>
              <a:t>Lorem</a:t>
            </a:r>
            <a:r>
              <a:rPr lang="en-US" sz="1200" b="1" dirty="0"/>
              <a:t> </a:t>
            </a:r>
            <a:r>
              <a:rPr lang="en-US" sz="1200" b="1" dirty="0" err="1"/>
              <a:t>Ipsum</a:t>
            </a:r>
            <a:r>
              <a:rPr lang="en-US" sz="1200" dirty="0"/>
              <a:t> is simply dummy text of the printing and </a:t>
            </a:r>
            <a:r>
              <a:rPr lang="en-US" sz="1200" dirty="0" smtClean="0"/>
              <a:t>typesetting</a:t>
            </a:r>
            <a:endParaRPr lang="en-US" sz="1200" dirty="0"/>
          </a:p>
        </p:txBody>
      </p:sp>
      <p:sp>
        <p:nvSpPr>
          <p:cNvPr id="75" name="TextBox 74"/>
          <p:cNvSpPr txBox="1"/>
          <p:nvPr/>
        </p:nvSpPr>
        <p:spPr>
          <a:xfrm>
            <a:off x="6767267" y="3896665"/>
            <a:ext cx="2040345" cy="127727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indent="-171450"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Wingdings 3" pitchFamily="18" charset="2"/>
              <a:buChar char="}"/>
            </a:pPr>
            <a:r>
              <a:rPr lang="en-US" sz="1200" b="1" dirty="0" err="1" smtClean="0"/>
              <a:t>Lorem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Ipsum</a:t>
            </a:r>
            <a:r>
              <a:rPr lang="en-US" sz="1200" dirty="0" smtClean="0"/>
              <a:t> is simply dummy text of the printing and typesetting</a:t>
            </a:r>
          </a:p>
          <a:p>
            <a:pPr marL="171450" indent="-171450"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Wingdings 3" pitchFamily="18" charset="2"/>
              <a:buChar char="}"/>
            </a:pPr>
            <a:r>
              <a:rPr lang="en-US" sz="1200" b="1" dirty="0" err="1"/>
              <a:t>Lorem</a:t>
            </a:r>
            <a:r>
              <a:rPr lang="en-US" sz="1200" b="1" dirty="0"/>
              <a:t> </a:t>
            </a:r>
            <a:r>
              <a:rPr lang="en-US" sz="1200" b="1" dirty="0" err="1"/>
              <a:t>Ipsum</a:t>
            </a:r>
            <a:r>
              <a:rPr lang="en-US" sz="1200" dirty="0"/>
              <a:t> is simply dummy text of the printing and </a:t>
            </a:r>
            <a:r>
              <a:rPr lang="en-US" sz="1200" dirty="0" smtClean="0"/>
              <a:t>typesetting</a:t>
            </a:r>
            <a:endParaRPr lang="en-US" sz="1200" dirty="0"/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NAME OF PRESENTER</a:t>
            </a:r>
            <a:endParaRPr lang="en-US" dirty="0"/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650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Slide Number Placeholder 8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8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3105034" y="559832"/>
            <a:ext cx="29339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dirty="0" smtClean="0">
                <a:latin typeface="+mj-lt"/>
              </a:rPr>
              <a:t>FISCAL YEAR COMPARISON</a:t>
            </a:r>
          </a:p>
          <a:p>
            <a:pPr algn="ctr">
              <a:lnSpc>
                <a:spcPct val="80000"/>
              </a:lnSpc>
            </a:pPr>
            <a:r>
              <a:rPr lang="en-US" sz="1200" dirty="0" smtClean="0">
                <a:latin typeface="+mj-lt"/>
              </a:rPr>
              <a:t>Replace this text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2921000" y="1098729"/>
            <a:ext cx="33020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780474760"/>
              </p:ext>
            </p:extLst>
          </p:nvPr>
        </p:nvGraphicFramePr>
        <p:xfrm>
          <a:off x="990370" y="1524000"/>
          <a:ext cx="6879279" cy="2971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708697" y="4953001"/>
            <a:ext cx="2325222" cy="761999"/>
            <a:chOff x="6268323" y="1933529"/>
            <a:chExt cx="2325222" cy="761999"/>
          </a:xfrm>
        </p:grpSpPr>
        <p:sp>
          <p:nvSpPr>
            <p:cNvPr id="7" name="Rectangle 6"/>
            <p:cNvSpPr/>
            <p:nvPr/>
          </p:nvSpPr>
          <p:spPr>
            <a:xfrm rot="5400000">
              <a:off x="5971116" y="2230736"/>
              <a:ext cx="761999" cy="167585"/>
            </a:xfrm>
            <a:prstGeom prst="rect">
              <a:avLst/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/>
            <a:p>
              <a:pPr defTabSz="457200"/>
              <a:endParaRPr lang="en-US" sz="12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6553200" y="1991363"/>
              <a:ext cx="2040345" cy="6463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 dirty="0" err="1" smtClean="0"/>
                <a:t>Lorem</a:t>
              </a:r>
              <a:r>
                <a:rPr lang="en-US" sz="1200" b="1" dirty="0" smtClean="0"/>
                <a:t> </a:t>
              </a:r>
              <a:r>
                <a:rPr lang="en-US" sz="1200" b="1" dirty="0" err="1"/>
                <a:t>Ipsum</a:t>
              </a:r>
              <a:r>
                <a:rPr lang="en-US" sz="1200" dirty="0"/>
                <a:t> is simply dummy text of the printing and typesetting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3420838" y="4953001"/>
            <a:ext cx="2325222" cy="761999"/>
            <a:chOff x="6268323" y="1933529"/>
            <a:chExt cx="2325222" cy="761999"/>
          </a:xfrm>
        </p:grpSpPr>
        <p:sp>
          <p:nvSpPr>
            <p:cNvPr id="10" name="Rectangle 9"/>
            <p:cNvSpPr/>
            <p:nvPr/>
          </p:nvSpPr>
          <p:spPr>
            <a:xfrm rot="5400000">
              <a:off x="5971116" y="2230736"/>
              <a:ext cx="761999" cy="167585"/>
            </a:xfrm>
            <a:prstGeom prst="rect">
              <a:avLst/>
            </a:prstGeom>
            <a:solidFill>
              <a:srgbClr val="CE202A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/>
            <a:p>
              <a:pPr defTabSz="457200"/>
              <a:endParaRPr lang="en-US" sz="12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6553200" y="1991363"/>
              <a:ext cx="2040345" cy="6463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 dirty="0" err="1" smtClean="0"/>
                <a:t>Lorem</a:t>
              </a:r>
              <a:r>
                <a:rPr lang="en-US" sz="1200" b="1" dirty="0" smtClean="0"/>
                <a:t> </a:t>
              </a:r>
              <a:r>
                <a:rPr lang="en-US" sz="1200" b="1" dirty="0" err="1"/>
                <a:t>Ipsum</a:t>
              </a:r>
              <a:r>
                <a:rPr lang="en-US" sz="1200" dirty="0"/>
                <a:t> is simply dummy text of the printing and typesetting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6132978" y="4953001"/>
            <a:ext cx="2325222" cy="761999"/>
            <a:chOff x="6268323" y="1933529"/>
            <a:chExt cx="2325222" cy="761999"/>
          </a:xfrm>
        </p:grpSpPr>
        <p:sp>
          <p:nvSpPr>
            <p:cNvPr id="13" name="Rectangle 12"/>
            <p:cNvSpPr/>
            <p:nvPr/>
          </p:nvSpPr>
          <p:spPr>
            <a:xfrm rot="5400000">
              <a:off x="5971116" y="2230736"/>
              <a:ext cx="761999" cy="167585"/>
            </a:xfrm>
            <a:prstGeom prst="rect">
              <a:avLst/>
            </a:prstGeom>
            <a:solidFill>
              <a:srgbClr val="2A9B18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/>
            <a:p>
              <a:pPr defTabSz="457200"/>
              <a:endParaRPr lang="en-US" sz="12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6553200" y="1991363"/>
              <a:ext cx="2040345" cy="6463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 dirty="0" err="1" smtClean="0"/>
                <a:t>Lorem</a:t>
              </a:r>
              <a:r>
                <a:rPr lang="en-US" sz="1200" b="1" dirty="0" smtClean="0"/>
                <a:t> </a:t>
              </a:r>
              <a:r>
                <a:rPr lang="en-US" sz="1200" b="1" dirty="0" err="1"/>
                <a:t>Ipsum</a:t>
              </a:r>
              <a:r>
                <a:rPr lang="en-US" sz="1200" dirty="0"/>
                <a:t> is simply dummy text of the printing and typesetting</a:t>
              </a:r>
            </a:p>
          </p:txBody>
        </p:sp>
      </p:grpSp>
      <p:sp>
        <p:nvSpPr>
          <p:cNvPr id="19" name="Date Placeholder 18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NAME OF PRESENTER</a:t>
            </a:r>
            <a:endParaRPr lang="en-US" dirty="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COMPANY 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120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022600" y="1647640"/>
            <a:ext cx="3200400" cy="3962400"/>
          </a:xfrm>
          <a:prstGeom prst="rect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2175663872"/>
              </p:ext>
            </p:extLst>
          </p:nvPr>
        </p:nvGraphicFramePr>
        <p:xfrm>
          <a:off x="3284038" y="2028640"/>
          <a:ext cx="2677525" cy="31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Oval 3"/>
          <p:cNvSpPr/>
          <p:nvPr/>
        </p:nvSpPr>
        <p:spPr>
          <a:xfrm>
            <a:off x="1638098" y="2671568"/>
            <a:ext cx="2129032" cy="2129032"/>
          </a:xfrm>
          <a:prstGeom prst="ellipse">
            <a:avLst/>
          </a:prstGeom>
          <a:solidFill>
            <a:srgbClr val="D5D5D5"/>
          </a:solidFill>
          <a:ln w="3175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9" name="Slide Number Placeholder 8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9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78" name="TextBox 77"/>
          <p:cNvSpPr txBox="1"/>
          <p:nvPr/>
        </p:nvSpPr>
        <p:spPr>
          <a:xfrm>
            <a:off x="3105034" y="559832"/>
            <a:ext cx="29339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dirty="0" smtClean="0">
                <a:latin typeface="+mj-lt"/>
              </a:rPr>
              <a:t>FISCAL YEAR COMPARISON</a:t>
            </a:r>
          </a:p>
          <a:p>
            <a:pPr algn="ctr">
              <a:lnSpc>
                <a:spcPct val="80000"/>
              </a:lnSpc>
            </a:pPr>
            <a:r>
              <a:rPr lang="en-US" sz="1200" dirty="0" smtClean="0">
                <a:latin typeface="+mj-lt"/>
              </a:rPr>
              <a:t>Replace this text</a:t>
            </a:r>
          </a:p>
        </p:txBody>
      </p:sp>
      <p:cxnSp>
        <p:nvCxnSpPr>
          <p:cNvPr id="80" name="Straight Connector 79"/>
          <p:cNvCxnSpPr/>
          <p:nvPr/>
        </p:nvCxnSpPr>
        <p:spPr>
          <a:xfrm>
            <a:off x="2921000" y="1098729"/>
            <a:ext cx="33020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/>
        </p:nvGrpSpPr>
        <p:grpSpPr>
          <a:xfrm>
            <a:off x="6513978" y="2743200"/>
            <a:ext cx="2325222" cy="761999"/>
            <a:chOff x="6268323" y="1933529"/>
            <a:chExt cx="2325222" cy="761999"/>
          </a:xfrm>
        </p:grpSpPr>
        <p:sp>
          <p:nvSpPr>
            <p:cNvPr id="10" name="Rectangle 9"/>
            <p:cNvSpPr/>
            <p:nvPr/>
          </p:nvSpPr>
          <p:spPr>
            <a:xfrm rot="5400000">
              <a:off x="5971116" y="2230736"/>
              <a:ext cx="761999" cy="167585"/>
            </a:xfrm>
            <a:prstGeom prst="rect">
              <a:avLst/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/>
            <a:p>
              <a:pPr defTabSz="457200"/>
              <a:endParaRPr lang="en-US" sz="12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6553200" y="1991363"/>
              <a:ext cx="2040345" cy="6463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 dirty="0" err="1" smtClean="0"/>
                <a:t>Lorem</a:t>
              </a:r>
              <a:r>
                <a:rPr lang="en-US" sz="1200" b="1" dirty="0" smtClean="0"/>
                <a:t> </a:t>
              </a:r>
              <a:r>
                <a:rPr lang="en-US" sz="1200" b="1" dirty="0" err="1"/>
                <a:t>Ipsum</a:t>
              </a:r>
              <a:r>
                <a:rPr lang="en-US" sz="1200" dirty="0"/>
                <a:t> is simply dummy text of the printing and typesetting</a:t>
              </a:r>
            </a:p>
          </p:txBody>
        </p:sp>
      </p:grpSp>
      <p:graphicFrame>
        <p:nvGraphicFramePr>
          <p:cNvPr id="12" name="Chart 11"/>
          <p:cNvGraphicFramePr/>
          <p:nvPr>
            <p:extLst>
              <p:ext uri="{D42A27DB-BD31-4B8C-83A1-F6EECF244321}">
                <p14:modId xmlns:p14="http://schemas.microsoft.com/office/powerpoint/2010/main" val="652269141"/>
              </p:ext>
            </p:extLst>
          </p:nvPr>
        </p:nvGraphicFramePr>
        <p:xfrm>
          <a:off x="1143000" y="2670570"/>
          <a:ext cx="3143778" cy="20958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13" name="Group 12"/>
          <p:cNvGrpSpPr/>
          <p:nvPr/>
        </p:nvGrpSpPr>
        <p:grpSpPr>
          <a:xfrm>
            <a:off x="501044" y="1905000"/>
            <a:ext cx="1011806" cy="766071"/>
            <a:chOff x="5298973" y="2051050"/>
            <a:chExt cx="1112947" cy="842648"/>
          </a:xfrm>
        </p:grpSpPr>
        <p:grpSp>
          <p:nvGrpSpPr>
            <p:cNvPr id="14" name="Group 13"/>
            <p:cNvGrpSpPr/>
            <p:nvPr/>
          </p:nvGrpSpPr>
          <p:grpSpPr>
            <a:xfrm>
              <a:off x="5298973" y="2370583"/>
              <a:ext cx="1065306" cy="523115"/>
              <a:chOff x="7091363" y="2232025"/>
              <a:chExt cx="2305050" cy="1131888"/>
            </a:xfrm>
          </p:grpSpPr>
          <p:sp>
            <p:nvSpPr>
              <p:cNvPr id="16" name="Freeform 44"/>
              <p:cNvSpPr>
                <a:spLocks/>
              </p:cNvSpPr>
              <p:nvPr/>
            </p:nvSpPr>
            <p:spPr bwMode="auto">
              <a:xfrm>
                <a:off x="7091363" y="2384425"/>
                <a:ext cx="2305050" cy="979488"/>
              </a:xfrm>
              <a:custGeom>
                <a:avLst/>
                <a:gdLst>
                  <a:gd name="T0" fmla="*/ 2904 w 2904"/>
                  <a:gd name="T1" fmla="*/ 837 h 1234"/>
                  <a:gd name="T2" fmla="*/ 2904 w 2904"/>
                  <a:gd name="T3" fmla="*/ 189 h 1234"/>
                  <a:gd name="T4" fmla="*/ 1023 w 2904"/>
                  <a:gd name="T5" fmla="*/ 429 h 1234"/>
                  <a:gd name="T6" fmla="*/ 0 w 2904"/>
                  <a:gd name="T7" fmla="*/ 0 h 1234"/>
                  <a:gd name="T8" fmla="*/ 0 w 2904"/>
                  <a:gd name="T9" fmla="*/ 796 h 1234"/>
                  <a:gd name="T10" fmla="*/ 940 w 2904"/>
                  <a:gd name="T11" fmla="*/ 1234 h 1234"/>
                  <a:gd name="T12" fmla="*/ 2904 w 2904"/>
                  <a:gd name="T13" fmla="*/ 837 h 1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4" h="1234">
                    <a:moveTo>
                      <a:pt x="2904" y="837"/>
                    </a:moveTo>
                    <a:lnTo>
                      <a:pt x="2904" y="189"/>
                    </a:lnTo>
                    <a:lnTo>
                      <a:pt x="1023" y="429"/>
                    </a:lnTo>
                    <a:lnTo>
                      <a:pt x="0" y="0"/>
                    </a:lnTo>
                    <a:lnTo>
                      <a:pt x="0" y="796"/>
                    </a:lnTo>
                    <a:lnTo>
                      <a:pt x="940" y="1234"/>
                    </a:lnTo>
                    <a:lnTo>
                      <a:pt x="2904" y="837"/>
                    </a:lnTo>
                    <a:close/>
                  </a:path>
                </a:pathLst>
              </a:custGeom>
              <a:solidFill>
                <a:srgbClr val="2A9B1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17" name="Freeform 45"/>
              <p:cNvSpPr>
                <a:spLocks/>
              </p:cNvSpPr>
              <p:nvPr/>
            </p:nvSpPr>
            <p:spPr bwMode="auto">
              <a:xfrm>
                <a:off x="7091363" y="2232025"/>
                <a:ext cx="2305050" cy="492125"/>
              </a:xfrm>
              <a:custGeom>
                <a:avLst/>
                <a:gdLst>
                  <a:gd name="T0" fmla="*/ 2016 w 2904"/>
                  <a:gd name="T1" fmla="*/ 0 h 621"/>
                  <a:gd name="T2" fmla="*/ 2904 w 2904"/>
                  <a:gd name="T3" fmla="*/ 381 h 621"/>
                  <a:gd name="T4" fmla="*/ 1023 w 2904"/>
                  <a:gd name="T5" fmla="*/ 621 h 621"/>
                  <a:gd name="T6" fmla="*/ 0 w 2904"/>
                  <a:gd name="T7" fmla="*/ 192 h 621"/>
                  <a:gd name="T8" fmla="*/ 2016 w 2904"/>
                  <a:gd name="T9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04" h="621">
                    <a:moveTo>
                      <a:pt x="2016" y="0"/>
                    </a:moveTo>
                    <a:lnTo>
                      <a:pt x="2904" y="381"/>
                    </a:lnTo>
                    <a:lnTo>
                      <a:pt x="1023" y="621"/>
                    </a:lnTo>
                    <a:lnTo>
                      <a:pt x="0" y="192"/>
                    </a:lnTo>
                    <a:lnTo>
                      <a:pt x="2016" y="0"/>
                    </a:lnTo>
                    <a:close/>
                  </a:path>
                </a:pathLst>
              </a:custGeom>
              <a:solidFill>
                <a:srgbClr val="23A50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18" name="Freeform 46"/>
              <p:cNvSpPr>
                <a:spLocks noEditPoints="1"/>
              </p:cNvSpPr>
              <p:nvPr/>
            </p:nvSpPr>
            <p:spPr bwMode="auto">
              <a:xfrm>
                <a:off x="7242176" y="2270125"/>
                <a:ext cx="2012950" cy="415925"/>
              </a:xfrm>
              <a:custGeom>
                <a:avLst/>
                <a:gdLst>
                  <a:gd name="T0" fmla="*/ 840 w 2536"/>
                  <a:gd name="T1" fmla="*/ 525 h 525"/>
                  <a:gd name="T2" fmla="*/ 844 w 2536"/>
                  <a:gd name="T3" fmla="*/ 525 h 525"/>
                  <a:gd name="T4" fmla="*/ 2536 w 2536"/>
                  <a:gd name="T5" fmla="*/ 308 h 525"/>
                  <a:gd name="T6" fmla="*/ 1818 w 2536"/>
                  <a:gd name="T7" fmla="*/ 0 h 525"/>
                  <a:gd name="T8" fmla="*/ 1814 w 2536"/>
                  <a:gd name="T9" fmla="*/ 0 h 525"/>
                  <a:gd name="T10" fmla="*/ 0 w 2536"/>
                  <a:gd name="T11" fmla="*/ 173 h 525"/>
                  <a:gd name="T12" fmla="*/ 840 w 2536"/>
                  <a:gd name="T13" fmla="*/ 525 h 525"/>
                  <a:gd name="T14" fmla="*/ 2418 w 2536"/>
                  <a:gd name="T15" fmla="*/ 291 h 525"/>
                  <a:gd name="T16" fmla="*/ 844 w 2536"/>
                  <a:gd name="T17" fmla="*/ 492 h 525"/>
                  <a:gd name="T18" fmla="*/ 128 w 2536"/>
                  <a:gd name="T19" fmla="*/ 193 h 525"/>
                  <a:gd name="T20" fmla="*/ 1813 w 2536"/>
                  <a:gd name="T21" fmla="*/ 31 h 525"/>
                  <a:gd name="T22" fmla="*/ 2418 w 2536"/>
                  <a:gd name="T23" fmla="*/ 291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36" h="525">
                    <a:moveTo>
                      <a:pt x="840" y="525"/>
                    </a:moveTo>
                    <a:lnTo>
                      <a:pt x="844" y="525"/>
                    </a:lnTo>
                    <a:lnTo>
                      <a:pt x="2536" y="308"/>
                    </a:lnTo>
                    <a:lnTo>
                      <a:pt x="1818" y="0"/>
                    </a:lnTo>
                    <a:lnTo>
                      <a:pt x="1814" y="0"/>
                    </a:lnTo>
                    <a:lnTo>
                      <a:pt x="0" y="173"/>
                    </a:lnTo>
                    <a:lnTo>
                      <a:pt x="840" y="525"/>
                    </a:lnTo>
                    <a:close/>
                    <a:moveTo>
                      <a:pt x="2418" y="291"/>
                    </a:moveTo>
                    <a:lnTo>
                      <a:pt x="844" y="492"/>
                    </a:lnTo>
                    <a:lnTo>
                      <a:pt x="128" y="193"/>
                    </a:lnTo>
                    <a:lnTo>
                      <a:pt x="1813" y="31"/>
                    </a:lnTo>
                    <a:lnTo>
                      <a:pt x="2418" y="291"/>
                    </a:lnTo>
                    <a:close/>
                  </a:path>
                </a:pathLst>
              </a:custGeom>
              <a:solidFill>
                <a:srgbClr val="FFD75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19" name="Freeform 47"/>
              <p:cNvSpPr>
                <a:spLocks/>
              </p:cNvSpPr>
              <p:nvPr/>
            </p:nvSpPr>
            <p:spPr bwMode="auto">
              <a:xfrm>
                <a:off x="7900988" y="2270125"/>
                <a:ext cx="1031875" cy="946150"/>
              </a:xfrm>
              <a:custGeom>
                <a:avLst/>
                <a:gdLst>
                  <a:gd name="T0" fmla="*/ 1299 w 1299"/>
                  <a:gd name="T1" fmla="*/ 407 h 1192"/>
                  <a:gd name="T2" fmla="*/ 1299 w 1299"/>
                  <a:gd name="T3" fmla="*/ 1099 h 1192"/>
                  <a:gd name="T4" fmla="*/ 837 w 1299"/>
                  <a:gd name="T5" fmla="*/ 1192 h 1192"/>
                  <a:gd name="T6" fmla="*/ 837 w 1299"/>
                  <a:gd name="T7" fmla="*/ 466 h 1192"/>
                  <a:gd name="T8" fmla="*/ 0 w 1299"/>
                  <a:gd name="T9" fmla="*/ 47 h 1192"/>
                  <a:gd name="T10" fmla="*/ 496 w 1299"/>
                  <a:gd name="T11" fmla="*/ 0 h 1192"/>
                  <a:gd name="T12" fmla="*/ 1299 w 1299"/>
                  <a:gd name="T13" fmla="*/ 407 h 1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99" h="1192">
                    <a:moveTo>
                      <a:pt x="1299" y="407"/>
                    </a:moveTo>
                    <a:lnTo>
                      <a:pt x="1299" y="1099"/>
                    </a:lnTo>
                    <a:lnTo>
                      <a:pt x="837" y="1192"/>
                    </a:lnTo>
                    <a:lnTo>
                      <a:pt x="837" y="466"/>
                    </a:lnTo>
                    <a:lnTo>
                      <a:pt x="0" y="47"/>
                    </a:lnTo>
                    <a:lnTo>
                      <a:pt x="496" y="0"/>
                    </a:lnTo>
                    <a:lnTo>
                      <a:pt x="1299" y="407"/>
                    </a:lnTo>
                    <a:close/>
                  </a:path>
                </a:pathLst>
              </a:custGeom>
              <a:solidFill>
                <a:srgbClr val="FFDE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20" name="Freeform 48"/>
              <p:cNvSpPr>
                <a:spLocks/>
              </p:cNvSpPr>
              <p:nvPr/>
            </p:nvSpPr>
            <p:spPr bwMode="auto">
              <a:xfrm>
                <a:off x="8566151" y="2592388"/>
                <a:ext cx="366713" cy="623888"/>
              </a:xfrm>
              <a:custGeom>
                <a:avLst/>
                <a:gdLst>
                  <a:gd name="T0" fmla="*/ 462 w 462"/>
                  <a:gd name="T1" fmla="*/ 0 h 785"/>
                  <a:gd name="T2" fmla="*/ 462 w 462"/>
                  <a:gd name="T3" fmla="*/ 692 h 785"/>
                  <a:gd name="T4" fmla="*/ 0 w 462"/>
                  <a:gd name="T5" fmla="*/ 785 h 785"/>
                  <a:gd name="T6" fmla="*/ 0 w 462"/>
                  <a:gd name="T7" fmla="*/ 59 h 785"/>
                  <a:gd name="T8" fmla="*/ 462 w 462"/>
                  <a:gd name="T9" fmla="*/ 0 h 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2" h="785">
                    <a:moveTo>
                      <a:pt x="462" y="0"/>
                    </a:moveTo>
                    <a:lnTo>
                      <a:pt x="462" y="692"/>
                    </a:lnTo>
                    <a:lnTo>
                      <a:pt x="0" y="785"/>
                    </a:lnTo>
                    <a:lnTo>
                      <a:pt x="0" y="59"/>
                    </a:lnTo>
                    <a:lnTo>
                      <a:pt x="462" y="0"/>
                    </a:lnTo>
                    <a:close/>
                  </a:path>
                </a:pathLst>
              </a:custGeom>
              <a:solidFill>
                <a:srgbClr val="EFCA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</p:grpSp>
        <p:sp>
          <p:nvSpPr>
            <p:cNvPr id="15" name="Freeform 146"/>
            <p:cNvSpPr>
              <a:spLocks/>
            </p:cNvSpPr>
            <p:nvPr/>
          </p:nvSpPr>
          <p:spPr bwMode="auto">
            <a:xfrm rot="3453316" flipV="1">
              <a:off x="5728880" y="2073733"/>
              <a:ext cx="705724" cy="660357"/>
            </a:xfrm>
            <a:custGeom>
              <a:avLst/>
              <a:gdLst>
                <a:gd name="T0" fmla="*/ 264 w 560"/>
                <a:gd name="T1" fmla="*/ 80 h 528"/>
                <a:gd name="T2" fmla="*/ 294 w 560"/>
                <a:gd name="T3" fmla="*/ 250 h 528"/>
                <a:gd name="T4" fmla="*/ 264 w 560"/>
                <a:gd name="T5" fmla="*/ 263 h 528"/>
                <a:gd name="T6" fmla="*/ 235 w 560"/>
                <a:gd name="T7" fmla="*/ 272 h 528"/>
                <a:gd name="T8" fmla="*/ 205 w 560"/>
                <a:gd name="T9" fmla="*/ 276 h 528"/>
                <a:gd name="T10" fmla="*/ 178 w 560"/>
                <a:gd name="T11" fmla="*/ 276 h 528"/>
                <a:gd name="T12" fmla="*/ 152 w 560"/>
                <a:gd name="T13" fmla="*/ 271 h 528"/>
                <a:gd name="T14" fmla="*/ 128 w 560"/>
                <a:gd name="T15" fmla="*/ 262 h 528"/>
                <a:gd name="T16" fmla="*/ 105 w 560"/>
                <a:gd name="T17" fmla="*/ 250 h 528"/>
                <a:gd name="T18" fmla="*/ 87 w 560"/>
                <a:gd name="T19" fmla="*/ 234 h 528"/>
                <a:gd name="T20" fmla="*/ 71 w 560"/>
                <a:gd name="T21" fmla="*/ 214 h 528"/>
                <a:gd name="T22" fmla="*/ 58 w 560"/>
                <a:gd name="T23" fmla="*/ 192 h 528"/>
                <a:gd name="T24" fmla="*/ 51 w 560"/>
                <a:gd name="T25" fmla="*/ 166 h 528"/>
                <a:gd name="T26" fmla="*/ 48 w 560"/>
                <a:gd name="T27" fmla="*/ 138 h 528"/>
                <a:gd name="T28" fmla="*/ 50 w 560"/>
                <a:gd name="T29" fmla="*/ 107 h 528"/>
                <a:gd name="T30" fmla="*/ 57 w 560"/>
                <a:gd name="T31" fmla="*/ 74 h 528"/>
                <a:gd name="T32" fmla="*/ 71 w 560"/>
                <a:gd name="T33" fmla="*/ 39 h 528"/>
                <a:gd name="T34" fmla="*/ 82 w 560"/>
                <a:gd name="T35" fmla="*/ 18 h 528"/>
                <a:gd name="T36" fmla="*/ 83 w 560"/>
                <a:gd name="T37" fmla="*/ 13 h 528"/>
                <a:gd name="T38" fmla="*/ 81 w 560"/>
                <a:gd name="T39" fmla="*/ 6 h 528"/>
                <a:gd name="T40" fmla="*/ 72 w 560"/>
                <a:gd name="T41" fmla="*/ 0 h 528"/>
                <a:gd name="T42" fmla="*/ 64 w 560"/>
                <a:gd name="T43" fmla="*/ 1 h 528"/>
                <a:gd name="T44" fmla="*/ 58 w 560"/>
                <a:gd name="T45" fmla="*/ 5 h 528"/>
                <a:gd name="T46" fmla="*/ 48 w 560"/>
                <a:gd name="T47" fmla="*/ 19 h 528"/>
                <a:gd name="T48" fmla="*/ 30 w 560"/>
                <a:gd name="T49" fmla="*/ 54 h 528"/>
                <a:gd name="T50" fmla="*/ 14 w 560"/>
                <a:gd name="T51" fmla="*/ 98 h 528"/>
                <a:gd name="T52" fmla="*/ 4 w 560"/>
                <a:gd name="T53" fmla="*/ 137 h 528"/>
                <a:gd name="T54" fmla="*/ 1 w 560"/>
                <a:gd name="T55" fmla="*/ 165 h 528"/>
                <a:gd name="T56" fmla="*/ 0 w 560"/>
                <a:gd name="T57" fmla="*/ 194 h 528"/>
                <a:gd name="T58" fmla="*/ 2 w 560"/>
                <a:gd name="T59" fmla="*/ 223 h 528"/>
                <a:gd name="T60" fmla="*/ 8 w 560"/>
                <a:gd name="T61" fmla="*/ 253 h 528"/>
                <a:gd name="T62" fmla="*/ 18 w 560"/>
                <a:gd name="T63" fmla="*/ 283 h 528"/>
                <a:gd name="T64" fmla="*/ 33 w 560"/>
                <a:gd name="T65" fmla="*/ 312 h 528"/>
                <a:gd name="T66" fmla="*/ 52 w 560"/>
                <a:gd name="T67" fmla="*/ 341 h 528"/>
                <a:gd name="T68" fmla="*/ 79 w 560"/>
                <a:gd name="T69" fmla="*/ 368 h 528"/>
                <a:gd name="T70" fmla="*/ 110 w 560"/>
                <a:gd name="T71" fmla="*/ 393 h 528"/>
                <a:gd name="T72" fmla="*/ 145 w 560"/>
                <a:gd name="T73" fmla="*/ 413 h 528"/>
                <a:gd name="T74" fmla="*/ 173 w 560"/>
                <a:gd name="T75" fmla="*/ 423 h 528"/>
                <a:gd name="T76" fmla="*/ 195 w 560"/>
                <a:gd name="T77" fmla="*/ 430 h 528"/>
                <a:gd name="T78" fmla="*/ 221 w 560"/>
                <a:gd name="T79" fmla="*/ 434 h 528"/>
                <a:gd name="T80" fmla="*/ 252 w 560"/>
                <a:gd name="T81" fmla="*/ 435 h 528"/>
                <a:gd name="T82" fmla="*/ 288 w 560"/>
                <a:gd name="T83" fmla="*/ 433 h 528"/>
                <a:gd name="T84" fmla="*/ 333 w 560"/>
                <a:gd name="T85" fmla="*/ 424 h 528"/>
                <a:gd name="T86" fmla="*/ 389 w 560"/>
                <a:gd name="T87" fmla="*/ 528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60" h="528">
                  <a:moveTo>
                    <a:pt x="560" y="239"/>
                  </a:moveTo>
                  <a:lnTo>
                    <a:pt x="264" y="80"/>
                  </a:lnTo>
                  <a:lnTo>
                    <a:pt x="309" y="242"/>
                  </a:lnTo>
                  <a:lnTo>
                    <a:pt x="294" y="250"/>
                  </a:lnTo>
                  <a:lnTo>
                    <a:pt x="279" y="258"/>
                  </a:lnTo>
                  <a:lnTo>
                    <a:pt x="264" y="263"/>
                  </a:lnTo>
                  <a:lnTo>
                    <a:pt x="250" y="268"/>
                  </a:lnTo>
                  <a:lnTo>
                    <a:pt x="235" y="272"/>
                  </a:lnTo>
                  <a:lnTo>
                    <a:pt x="220" y="275"/>
                  </a:lnTo>
                  <a:lnTo>
                    <a:pt x="205" y="276"/>
                  </a:lnTo>
                  <a:lnTo>
                    <a:pt x="191" y="276"/>
                  </a:lnTo>
                  <a:lnTo>
                    <a:pt x="178" y="276"/>
                  </a:lnTo>
                  <a:lnTo>
                    <a:pt x="164" y="274"/>
                  </a:lnTo>
                  <a:lnTo>
                    <a:pt x="152" y="271"/>
                  </a:lnTo>
                  <a:lnTo>
                    <a:pt x="139" y="267"/>
                  </a:lnTo>
                  <a:lnTo>
                    <a:pt x="128" y="262"/>
                  </a:lnTo>
                  <a:lnTo>
                    <a:pt x="116" y="257"/>
                  </a:lnTo>
                  <a:lnTo>
                    <a:pt x="105" y="250"/>
                  </a:lnTo>
                  <a:lnTo>
                    <a:pt x="96" y="242"/>
                  </a:lnTo>
                  <a:lnTo>
                    <a:pt x="87" y="234"/>
                  </a:lnTo>
                  <a:lnTo>
                    <a:pt x="77" y="225"/>
                  </a:lnTo>
                  <a:lnTo>
                    <a:pt x="71" y="214"/>
                  </a:lnTo>
                  <a:lnTo>
                    <a:pt x="64" y="204"/>
                  </a:lnTo>
                  <a:lnTo>
                    <a:pt x="58" y="192"/>
                  </a:lnTo>
                  <a:lnTo>
                    <a:pt x="53" y="179"/>
                  </a:lnTo>
                  <a:lnTo>
                    <a:pt x="51" y="166"/>
                  </a:lnTo>
                  <a:lnTo>
                    <a:pt x="49" y="153"/>
                  </a:lnTo>
                  <a:lnTo>
                    <a:pt x="48" y="138"/>
                  </a:lnTo>
                  <a:lnTo>
                    <a:pt x="48" y="123"/>
                  </a:lnTo>
                  <a:lnTo>
                    <a:pt x="50" y="107"/>
                  </a:lnTo>
                  <a:lnTo>
                    <a:pt x="52" y="91"/>
                  </a:lnTo>
                  <a:lnTo>
                    <a:pt x="57" y="74"/>
                  </a:lnTo>
                  <a:lnTo>
                    <a:pt x="64" y="57"/>
                  </a:lnTo>
                  <a:lnTo>
                    <a:pt x="71" y="39"/>
                  </a:lnTo>
                  <a:lnTo>
                    <a:pt x="80" y="21"/>
                  </a:lnTo>
                  <a:lnTo>
                    <a:pt x="82" y="18"/>
                  </a:lnTo>
                  <a:lnTo>
                    <a:pt x="83" y="15"/>
                  </a:lnTo>
                  <a:lnTo>
                    <a:pt x="83" y="13"/>
                  </a:lnTo>
                  <a:lnTo>
                    <a:pt x="82" y="10"/>
                  </a:lnTo>
                  <a:lnTo>
                    <a:pt x="81" y="6"/>
                  </a:lnTo>
                  <a:lnTo>
                    <a:pt x="76" y="2"/>
                  </a:lnTo>
                  <a:lnTo>
                    <a:pt x="72" y="0"/>
                  </a:lnTo>
                  <a:lnTo>
                    <a:pt x="67" y="0"/>
                  </a:lnTo>
                  <a:lnTo>
                    <a:pt x="64" y="1"/>
                  </a:lnTo>
                  <a:lnTo>
                    <a:pt x="61" y="2"/>
                  </a:lnTo>
                  <a:lnTo>
                    <a:pt x="58" y="5"/>
                  </a:lnTo>
                  <a:lnTo>
                    <a:pt x="56" y="8"/>
                  </a:lnTo>
                  <a:lnTo>
                    <a:pt x="48" y="19"/>
                  </a:lnTo>
                  <a:lnTo>
                    <a:pt x="39" y="35"/>
                  </a:lnTo>
                  <a:lnTo>
                    <a:pt x="30" y="54"/>
                  </a:lnTo>
                  <a:lnTo>
                    <a:pt x="22" y="74"/>
                  </a:lnTo>
                  <a:lnTo>
                    <a:pt x="14" y="98"/>
                  </a:lnTo>
                  <a:lnTo>
                    <a:pt x="7" y="123"/>
                  </a:lnTo>
                  <a:lnTo>
                    <a:pt x="4" y="137"/>
                  </a:lnTo>
                  <a:lnTo>
                    <a:pt x="2" y="151"/>
                  </a:lnTo>
                  <a:lnTo>
                    <a:pt x="1" y="165"/>
                  </a:lnTo>
                  <a:lnTo>
                    <a:pt x="0" y="179"/>
                  </a:lnTo>
                  <a:lnTo>
                    <a:pt x="0" y="194"/>
                  </a:lnTo>
                  <a:lnTo>
                    <a:pt x="0" y="209"/>
                  </a:lnTo>
                  <a:lnTo>
                    <a:pt x="2" y="223"/>
                  </a:lnTo>
                  <a:lnTo>
                    <a:pt x="4" y="238"/>
                  </a:lnTo>
                  <a:lnTo>
                    <a:pt x="8" y="253"/>
                  </a:lnTo>
                  <a:lnTo>
                    <a:pt x="12" y="268"/>
                  </a:lnTo>
                  <a:lnTo>
                    <a:pt x="18" y="283"/>
                  </a:lnTo>
                  <a:lnTo>
                    <a:pt x="25" y="298"/>
                  </a:lnTo>
                  <a:lnTo>
                    <a:pt x="33" y="312"/>
                  </a:lnTo>
                  <a:lnTo>
                    <a:pt x="42" y="326"/>
                  </a:lnTo>
                  <a:lnTo>
                    <a:pt x="52" y="341"/>
                  </a:lnTo>
                  <a:lnTo>
                    <a:pt x="65" y="355"/>
                  </a:lnTo>
                  <a:lnTo>
                    <a:pt x="79" y="368"/>
                  </a:lnTo>
                  <a:lnTo>
                    <a:pt x="93" y="381"/>
                  </a:lnTo>
                  <a:lnTo>
                    <a:pt x="110" y="393"/>
                  </a:lnTo>
                  <a:lnTo>
                    <a:pt x="129" y="406"/>
                  </a:lnTo>
                  <a:lnTo>
                    <a:pt x="145" y="413"/>
                  </a:lnTo>
                  <a:lnTo>
                    <a:pt x="163" y="420"/>
                  </a:lnTo>
                  <a:lnTo>
                    <a:pt x="173" y="423"/>
                  </a:lnTo>
                  <a:lnTo>
                    <a:pt x="183" y="426"/>
                  </a:lnTo>
                  <a:lnTo>
                    <a:pt x="195" y="430"/>
                  </a:lnTo>
                  <a:lnTo>
                    <a:pt x="207" y="432"/>
                  </a:lnTo>
                  <a:lnTo>
                    <a:pt x="221" y="434"/>
                  </a:lnTo>
                  <a:lnTo>
                    <a:pt x="236" y="435"/>
                  </a:lnTo>
                  <a:lnTo>
                    <a:pt x="252" y="435"/>
                  </a:lnTo>
                  <a:lnTo>
                    <a:pt x="269" y="434"/>
                  </a:lnTo>
                  <a:lnTo>
                    <a:pt x="288" y="433"/>
                  </a:lnTo>
                  <a:lnTo>
                    <a:pt x="310" y="430"/>
                  </a:lnTo>
                  <a:lnTo>
                    <a:pt x="333" y="424"/>
                  </a:lnTo>
                  <a:lnTo>
                    <a:pt x="358" y="418"/>
                  </a:lnTo>
                  <a:lnTo>
                    <a:pt x="389" y="528"/>
                  </a:lnTo>
                  <a:lnTo>
                    <a:pt x="560" y="239"/>
                  </a:lnTo>
                  <a:close/>
                </a:path>
              </a:pathLst>
            </a:custGeom>
            <a:solidFill>
              <a:srgbClr val="CE202A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522700" y="2781710"/>
            <a:ext cx="968495" cy="1035299"/>
            <a:chOff x="5400151" y="3012852"/>
            <a:chExt cx="1065306" cy="1138787"/>
          </a:xfrm>
        </p:grpSpPr>
        <p:grpSp>
          <p:nvGrpSpPr>
            <p:cNvPr id="22" name="Group 21"/>
            <p:cNvGrpSpPr/>
            <p:nvPr/>
          </p:nvGrpSpPr>
          <p:grpSpPr>
            <a:xfrm>
              <a:off x="5400151" y="3628524"/>
              <a:ext cx="1065306" cy="523115"/>
              <a:chOff x="7091363" y="2232025"/>
              <a:chExt cx="2305050" cy="1131888"/>
            </a:xfrm>
          </p:grpSpPr>
          <p:sp>
            <p:nvSpPr>
              <p:cNvPr id="24" name="Freeform 44"/>
              <p:cNvSpPr>
                <a:spLocks/>
              </p:cNvSpPr>
              <p:nvPr/>
            </p:nvSpPr>
            <p:spPr bwMode="auto">
              <a:xfrm>
                <a:off x="7091363" y="2384425"/>
                <a:ext cx="2305050" cy="979488"/>
              </a:xfrm>
              <a:custGeom>
                <a:avLst/>
                <a:gdLst>
                  <a:gd name="T0" fmla="*/ 2904 w 2904"/>
                  <a:gd name="T1" fmla="*/ 837 h 1234"/>
                  <a:gd name="T2" fmla="*/ 2904 w 2904"/>
                  <a:gd name="T3" fmla="*/ 189 h 1234"/>
                  <a:gd name="T4" fmla="*/ 1023 w 2904"/>
                  <a:gd name="T5" fmla="*/ 429 h 1234"/>
                  <a:gd name="T6" fmla="*/ 0 w 2904"/>
                  <a:gd name="T7" fmla="*/ 0 h 1234"/>
                  <a:gd name="T8" fmla="*/ 0 w 2904"/>
                  <a:gd name="T9" fmla="*/ 796 h 1234"/>
                  <a:gd name="T10" fmla="*/ 940 w 2904"/>
                  <a:gd name="T11" fmla="*/ 1234 h 1234"/>
                  <a:gd name="T12" fmla="*/ 2904 w 2904"/>
                  <a:gd name="T13" fmla="*/ 837 h 1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04" h="1234">
                    <a:moveTo>
                      <a:pt x="2904" y="837"/>
                    </a:moveTo>
                    <a:lnTo>
                      <a:pt x="2904" y="189"/>
                    </a:lnTo>
                    <a:lnTo>
                      <a:pt x="1023" y="429"/>
                    </a:lnTo>
                    <a:lnTo>
                      <a:pt x="0" y="0"/>
                    </a:lnTo>
                    <a:lnTo>
                      <a:pt x="0" y="796"/>
                    </a:lnTo>
                    <a:lnTo>
                      <a:pt x="940" y="1234"/>
                    </a:lnTo>
                    <a:lnTo>
                      <a:pt x="2904" y="837"/>
                    </a:lnTo>
                    <a:close/>
                  </a:path>
                </a:pathLst>
              </a:custGeom>
              <a:solidFill>
                <a:srgbClr val="2A9B1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25" name="Freeform 45"/>
              <p:cNvSpPr>
                <a:spLocks/>
              </p:cNvSpPr>
              <p:nvPr/>
            </p:nvSpPr>
            <p:spPr bwMode="auto">
              <a:xfrm>
                <a:off x="7091363" y="2232025"/>
                <a:ext cx="2305050" cy="492125"/>
              </a:xfrm>
              <a:custGeom>
                <a:avLst/>
                <a:gdLst>
                  <a:gd name="T0" fmla="*/ 2016 w 2904"/>
                  <a:gd name="T1" fmla="*/ 0 h 621"/>
                  <a:gd name="T2" fmla="*/ 2904 w 2904"/>
                  <a:gd name="T3" fmla="*/ 381 h 621"/>
                  <a:gd name="T4" fmla="*/ 1023 w 2904"/>
                  <a:gd name="T5" fmla="*/ 621 h 621"/>
                  <a:gd name="T6" fmla="*/ 0 w 2904"/>
                  <a:gd name="T7" fmla="*/ 192 h 621"/>
                  <a:gd name="T8" fmla="*/ 2016 w 2904"/>
                  <a:gd name="T9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04" h="621">
                    <a:moveTo>
                      <a:pt x="2016" y="0"/>
                    </a:moveTo>
                    <a:lnTo>
                      <a:pt x="2904" y="381"/>
                    </a:lnTo>
                    <a:lnTo>
                      <a:pt x="1023" y="621"/>
                    </a:lnTo>
                    <a:lnTo>
                      <a:pt x="0" y="192"/>
                    </a:lnTo>
                    <a:lnTo>
                      <a:pt x="2016" y="0"/>
                    </a:lnTo>
                    <a:close/>
                  </a:path>
                </a:pathLst>
              </a:custGeom>
              <a:solidFill>
                <a:srgbClr val="23A50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26" name="Freeform 46"/>
              <p:cNvSpPr>
                <a:spLocks noEditPoints="1"/>
              </p:cNvSpPr>
              <p:nvPr/>
            </p:nvSpPr>
            <p:spPr bwMode="auto">
              <a:xfrm>
                <a:off x="7242176" y="2270125"/>
                <a:ext cx="2012950" cy="415925"/>
              </a:xfrm>
              <a:custGeom>
                <a:avLst/>
                <a:gdLst>
                  <a:gd name="T0" fmla="*/ 840 w 2536"/>
                  <a:gd name="T1" fmla="*/ 525 h 525"/>
                  <a:gd name="T2" fmla="*/ 844 w 2536"/>
                  <a:gd name="T3" fmla="*/ 525 h 525"/>
                  <a:gd name="T4" fmla="*/ 2536 w 2536"/>
                  <a:gd name="T5" fmla="*/ 308 h 525"/>
                  <a:gd name="T6" fmla="*/ 1818 w 2536"/>
                  <a:gd name="T7" fmla="*/ 0 h 525"/>
                  <a:gd name="T8" fmla="*/ 1814 w 2536"/>
                  <a:gd name="T9" fmla="*/ 0 h 525"/>
                  <a:gd name="T10" fmla="*/ 0 w 2536"/>
                  <a:gd name="T11" fmla="*/ 173 h 525"/>
                  <a:gd name="T12" fmla="*/ 840 w 2536"/>
                  <a:gd name="T13" fmla="*/ 525 h 525"/>
                  <a:gd name="T14" fmla="*/ 2418 w 2536"/>
                  <a:gd name="T15" fmla="*/ 291 h 525"/>
                  <a:gd name="T16" fmla="*/ 844 w 2536"/>
                  <a:gd name="T17" fmla="*/ 492 h 525"/>
                  <a:gd name="T18" fmla="*/ 128 w 2536"/>
                  <a:gd name="T19" fmla="*/ 193 h 525"/>
                  <a:gd name="T20" fmla="*/ 1813 w 2536"/>
                  <a:gd name="T21" fmla="*/ 31 h 525"/>
                  <a:gd name="T22" fmla="*/ 2418 w 2536"/>
                  <a:gd name="T23" fmla="*/ 291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36" h="525">
                    <a:moveTo>
                      <a:pt x="840" y="525"/>
                    </a:moveTo>
                    <a:lnTo>
                      <a:pt x="844" y="525"/>
                    </a:lnTo>
                    <a:lnTo>
                      <a:pt x="2536" y="308"/>
                    </a:lnTo>
                    <a:lnTo>
                      <a:pt x="1818" y="0"/>
                    </a:lnTo>
                    <a:lnTo>
                      <a:pt x="1814" y="0"/>
                    </a:lnTo>
                    <a:lnTo>
                      <a:pt x="0" y="173"/>
                    </a:lnTo>
                    <a:lnTo>
                      <a:pt x="840" y="525"/>
                    </a:lnTo>
                    <a:close/>
                    <a:moveTo>
                      <a:pt x="2418" y="291"/>
                    </a:moveTo>
                    <a:lnTo>
                      <a:pt x="844" y="492"/>
                    </a:lnTo>
                    <a:lnTo>
                      <a:pt x="128" y="193"/>
                    </a:lnTo>
                    <a:lnTo>
                      <a:pt x="1813" y="31"/>
                    </a:lnTo>
                    <a:lnTo>
                      <a:pt x="2418" y="291"/>
                    </a:lnTo>
                    <a:close/>
                  </a:path>
                </a:pathLst>
              </a:custGeom>
              <a:solidFill>
                <a:srgbClr val="FFD75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27" name="Freeform 47"/>
              <p:cNvSpPr>
                <a:spLocks/>
              </p:cNvSpPr>
              <p:nvPr/>
            </p:nvSpPr>
            <p:spPr bwMode="auto">
              <a:xfrm>
                <a:off x="7900988" y="2270125"/>
                <a:ext cx="1031875" cy="946150"/>
              </a:xfrm>
              <a:custGeom>
                <a:avLst/>
                <a:gdLst>
                  <a:gd name="T0" fmla="*/ 1299 w 1299"/>
                  <a:gd name="T1" fmla="*/ 407 h 1192"/>
                  <a:gd name="T2" fmla="*/ 1299 w 1299"/>
                  <a:gd name="T3" fmla="*/ 1099 h 1192"/>
                  <a:gd name="T4" fmla="*/ 837 w 1299"/>
                  <a:gd name="T5" fmla="*/ 1192 h 1192"/>
                  <a:gd name="T6" fmla="*/ 837 w 1299"/>
                  <a:gd name="T7" fmla="*/ 466 h 1192"/>
                  <a:gd name="T8" fmla="*/ 0 w 1299"/>
                  <a:gd name="T9" fmla="*/ 47 h 1192"/>
                  <a:gd name="T10" fmla="*/ 496 w 1299"/>
                  <a:gd name="T11" fmla="*/ 0 h 1192"/>
                  <a:gd name="T12" fmla="*/ 1299 w 1299"/>
                  <a:gd name="T13" fmla="*/ 407 h 1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99" h="1192">
                    <a:moveTo>
                      <a:pt x="1299" y="407"/>
                    </a:moveTo>
                    <a:lnTo>
                      <a:pt x="1299" y="1099"/>
                    </a:lnTo>
                    <a:lnTo>
                      <a:pt x="837" y="1192"/>
                    </a:lnTo>
                    <a:lnTo>
                      <a:pt x="837" y="466"/>
                    </a:lnTo>
                    <a:lnTo>
                      <a:pt x="0" y="47"/>
                    </a:lnTo>
                    <a:lnTo>
                      <a:pt x="496" y="0"/>
                    </a:lnTo>
                    <a:lnTo>
                      <a:pt x="1299" y="407"/>
                    </a:lnTo>
                    <a:close/>
                  </a:path>
                </a:pathLst>
              </a:custGeom>
              <a:solidFill>
                <a:srgbClr val="FFDE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28" name="Freeform 48"/>
              <p:cNvSpPr>
                <a:spLocks/>
              </p:cNvSpPr>
              <p:nvPr/>
            </p:nvSpPr>
            <p:spPr bwMode="auto">
              <a:xfrm>
                <a:off x="8566151" y="2592388"/>
                <a:ext cx="366713" cy="623888"/>
              </a:xfrm>
              <a:custGeom>
                <a:avLst/>
                <a:gdLst>
                  <a:gd name="T0" fmla="*/ 462 w 462"/>
                  <a:gd name="T1" fmla="*/ 0 h 785"/>
                  <a:gd name="T2" fmla="*/ 462 w 462"/>
                  <a:gd name="T3" fmla="*/ 692 h 785"/>
                  <a:gd name="T4" fmla="*/ 0 w 462"/>
                  <a:gd name="T5" fmla="*/ 785 h 785"/>
                  <a:gd name="T6" fmla="*/ 0 w 462"/>
                  <a:gd name="T7" fmla="*/ 59 h 785"/>
                  <a:gd name="T8" fmla="*/ 462 w 462"/>
                  <a:gd name="T9" fmla="*/ 0 h 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2" h="785">
                    <a:moveTo>
                      <a:pt x="462" y="0"/>
                    </a:moveTo>
                    <a:lnTo>
                      <a:pt x="462" y="692"/>
                    </a:lnTo>
                    <a:lnTo>
                      <a:pt x="0" y="785"/>
                    </a:lnTo>
                    <a:lnTo>
                      <a:pt x="0" y="59"/>
                    </a:lnTo>
                    <a:lnTo>
                      <a:pt x="462" y="0"/>
                    </a:lnTo>
                    <a:close/>
                  </a:path>
                </a:pathLst>
              </a:custGeom>
              <a:solidFill>
                <a:srgbClr val="EFCA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</p:grpSp>
        <p:sp>
          <p:nvSpPr>
            <p:cNvPr id="23" name="TextBox 22"/>
            <p:cNvSpPr txBox="1"/>
            <p:nvPr/>
          </p:nvSpPr>
          <p:spPr>
            <a:xfrm>
              <a:off x="5532844" y="3012852"/>
              <a:ext cx="904895" cy="1015626"/>
            </a:xfrm>
            <a:prstGeom prst="rect">
              <a:avLst/>
            </a:prstGeom>
            <a:noFill/>
            <a:ln w="3175">
              <a:noFill/>
              <a:round/>
              <a:headEnd/>
              <a:tailEnd/>
            </a:ln>
            <a:effectLst/>
          </p:spPr>
          <p:txBody>
            <a:bodyPr wrap="none" tIns="91440" bIns="91440" rtlCol="0" anchor="ctr">
              <a:spAutoFit/>
            </a:bodyPr>
            <a:lstStyle/>
            <a:p>
              <a:r>
                <a:rPr lang="en-US" sz="4800" b="1" dirty="0" smtClean="0">
                  <a:solidFill>
                    <a:srgbClr val="CE202A"/>
                  </a:solidFill>
                </a:rPr>
                <a:t>-%</a:t>
              </a:r>
              <a:endParaRPr lang="en-US" sz="4800" b="1" dirty="0">
                <a:solidFill>
                  <a:srgbClr val="CE202A"/>
                </a:solidFill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656265" y="4313845"/>
            <a:ext cx="701365" cy="1045296"/>
            <a:chOff x="2209800" y="3330104"/>
            <a:chExt cx="1600200" cy="2384896"/>
          </a:xfrm>
        </p:grpSpPr>
        <p:sp>
          <p:nvSpPr>
            <p:cNvPr id="30" name="Rectangle 29"/>
            <p:cNvSpPr/>
            <p:nvPr/>
          </p:nvSpPr>
          <p:spPr>
            <a:xfrm>
              <a:off x="2209800" y="3562814"/>
              <a:ext cx="1600200" cy="215218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31" name="Freeform 49"/>
            <p:cNvSpPr>
              <a:spLocks/>
            </p:cNvSpPr>
            <p:nvPr/>
          </p:nvSpPr>
          <p:spPr bwMode="auto">
            <a:xfrm>
              <a:off x="2900238" y="3330104"/>
              <a:ext cx="209442" cy="100844"/>
            </a:xfrm>
            <a:custGeom>
              <a:avLst/>
              <a:gdLst>
                <a:gd name="T0" fmla="*/ 67 w 139"/>
                <a:gd name="T1" fmla="*/ 34 h 67"/>
                <a:gd name="T2" fmla="*/ 84 w 139"/>
                <a:gd name="T3" fmla="*/ 38 h 67"/>
                <a:gd name="T4" fmla="*/ 90 w 139"/>
                <a:gd name="T5" fmla="*/ 44 h 67"/>
                <a:gd name="T6" fmla="*/ 101 w 139"/>
                <a:gd name="T7" fmla="*/ 55 h 67"/>
                <a:gd name="T8" fmla="*/ 101 w 139"/>
                <a:gd name="T9" fmla="*/ 67 h 67"/>
                <a:gd name="T10" fmla="*/ 139 w 139"/>
                <a:gd name="T11" fmla="*/ 67 h 67"/>
                <a:gd name="T12" fmla="*/ 134 w 139"/>
                <a:gd name="T13" fmla="*/ 44 h 67"/>
                <a:gd name="T14" fmla="*/ 117 w 139"/>
                <a:gd name="T15" fmla="*/ 23 h 67"/>
                <a:gd name="T16" fmla="*/ 95 w 139"/>
                <a:gd name="T17" fmla="*/ 6 h 67"/>
                <a:gd name="T18" fmla="*/ 67 w 139"/>
                <a:gd name="T19" fmla="*/ 0 h 67"/>
                <a:gd name="T20" fmla="*/ 39 w 139"/>
                <a:gd name="T21" fmla="*/ 6 h 67"/>
                <a:gd name="T22" fmla="*/ 17 w 139"/>
                <a:gd name="T23" fmla="*/ 23 h 67"/>
                <a:gd name="T24" fmla="*/ 6 w 139"/>
                <a:gd name="T25" fmla="*/ 44 h 67"/>
                <a:gd name="T26" fmla="*/ 0 w 139"/>
                <a:gd name="T27" fmla="*/ 67 h 67"/>
                <a:gd name="T28" fmla="*/ 34 w 139"/>
                <a:gd name="T29" fmla="*/ 67 h 67"/>
                <a:gd name="T30" fmla="*/ 39 w 139"/>
                <a:gd name="T31" fmla="*/ 55 h 67"/>
                <a:gd name="T32" fmla="*/ 44 w 139"/>
                <a:gd name="T33" fmla="*/ 44 h 67"/>
                <a:gd name="T34" fmla="*/ 56 w 139"/>
                <a:gd name="T35" fmla="*/ 38 h 67"/>
                <a:gd name="T36" fmla="*/ 67 w 139"/>
                <a:gd name="T37" fmla="*/ 3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9" h="67">
                  <a:moveTo>
                    <a:pt x="67" y="34"/>
                  </a:moveTo>
                  <a:lnTo>
                    <a:pt x="84" y="38"/>
                  </a:lnTo>
                  <a:lnTo>
                    <a:pt x="90" y="44"/>
                  </a:lnTo>
                  <a:lnTo>
                    <a:pt x="101" y="55"/>
                  </a:lnTo>
                  <a:lnTo>
                    <a:pt x="101" y="67"/>
                  </a:lnTo>
                  <a:lnTo>
                    <a:pt x="139" y="67"/>
                  </a:lnTo>
                  <a:lnTo>
                    <a:pt x="134" y="44"/>
                  </a:lnTo>
                  <a:lnTo>
                    <a:pt x="117" y="23"/>
                  </a:lnTo>
                  <a:lnTo>
                    <a:pt x="95" y="6"/>
                  </a:lnTo>
                  <a:lnTo>
                    <a:pt x="67" y="0"/>
                  </a:lnTo>
                  <a:lnTo>
                    <a:pt x="39" y="6"/>
                  </a:lnTo>
                  <a:lnTo>
                    <a:pt x="17" y="23"/>
                  </a:lnTo>
                  <a:lnTo>
                    <a:pt x="6" y="44"/>
                  </a:lnTo>
                  <a:lnTo>
                    <a:pt x="0" y="67"/>
                  </a:lnTo>
                  <a:lnTo>
                    <a:pt x="34" y="67"/>
                  </a:lnTo>
                  <a:lnTo>
                    <a:pt x="39" y="55"/>
                  </a:lnTo>
                  <a:lnTo>
                    <a:pt x="44" y="44"/>
                  </a:lnTo>
                  <a:lnTo>
                    <a:pt x="56" y="38"/>
                  </a:lnTo>
                  <a:lnTo>
                    <a:pt x="67" y="34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32" name="Freeform 50"/>
            <p:cNvSpPr>
              <a:spLocks/>
            </p:cNvSpPr>
            <p:nvPr/>
          </p:nvSpPr>
          <p:spPr bwMode="auto">
            <a:xfrm>
              <a:off x="2628745" y="3438702"/>
              <a:ext cx="744674" cy="248225"/>
            </a:xfrm>
            <a:custGeom>
              <a:avLst/>
              <a:gdLst>
                <a:gd name="T0" fmla="*/ 478 w 478"/>
                <a:gd name="T1" fmla="*/ 50 h 156"/>
                <a:gd name="T2" fmla="*/ 473 w 478"/>
                <a:gd name="T3" fmla="*/ 33 h 156"/>
                <a:gd name="T4" fmla="*/ 467 w 478"/>
                <a:gd name="T5" fmla="*/ 17 h 156"/>
                <a:gd name="T6" fmla="*/ 456 w 478"/>
                <a:gd name="T7" fmla="*/ 12 h 156"/>
                <a:gd name="T8" fmla="*/ 439 w 478"/>
                <a:gd name="T9" fmla="*/ 0 h 156"/>
                <a:gd name="T10" fmla="*/ 417 w 478"/>
                <a:gd name="T11" fmla="*/ 0 h 156"/>
                <a:gd name="T12" fmla="*/ 412 w 478"/>
                <a:gd name="T13" fmla="*/ 0 h 156"/>
                <a:gd name="T14" fmla="*/ 245 w 478"/>
                <a:gd name="T15" fmla="*/ 0 h 156"/>
                <a:gd name="T16" fmla="*/ 233 w 478"/>
                <a:gd name="T17" fmla="*/ 0 h 156"/>
                <a:gd name="T18" fmla="*/ 72 w 478"/>
                <a:gd name="T19" fmla="*/ 0 h 156"/>
                <a:gd name="T20" fmla="*/ 62 w 478"/>
                <a:gd name="T21" fmla="*/ 0 h 156"/>
                <a:gd name="T22" fmla="*/ 39 w 478"/>
                <a:gd name="T23" fmla="*/ 0 h 156"/>
                <a:gd name="T24" fmla="*/ 28 w 478"/>
                <a:gd name="T25" fmla="*/ 12 h 156"/>
                <a:gd name="T26" fmla="*/ 17 w 478"/>
                <a:gd name="T27" fmla="*/ 17 h 156"/>
                <a:gd name="T28" fmla="*/ 5 w 478"/>
                <a:gd name="T29" fmla="*/ 33 h 156"/>
                <a:gd name="T30" fmla="*/ 0 w 478"/>
                <a:gd name="T31" fmla="*/ 50 h 156"/>
                <a:gd name="T32" fmla="*/ 0 w 478"/>
                <a:gd name="T33" fmla="*/ 111 h 156"/>
                <a:gd name="T34" fmla="*/ 0 w 478"/>
                <a:gd name="T35" fmla="*/ 128 h 156"/>
                <a:gd name="T36" fmla="*/ 11 w 478"/>
                <a:gd name="T37" fmla="*/ 145 h 156"/>
                <a:gd name="T38" fmla="*/ 17 w 478"/>
                <a:gd name="T39" fmla="*/ 150 h 156"/>
                <a:gd name="T40" fmla="*/ 33 w 478"/>
                <a:gd name="T41" fmla="*/ 156 h 156"/>
                <a:gd name="T42" fmla="*/ 233 w 478"/>
                <a:gd name="T43" fmla="*/ 156 h 156"/>
                <a:gd name="T44" fmla="*/ 245 w 478"/>
                <a:gd name="T45" fmla="*/ 156 h 156"/>
                <a:gd name="T46" fmla="*/ 444 w 478"/>
                <a:gd name="T47" fmla="*/ 156 h 156"/>
                <a:gd name="T48" fmla="*/ 461 w 478"/>
                <a:gd name="T49" fmla="*/ 150 h 156"/>
                <a:gd name="T50" fmla="*/ 473 w 478"/>
                <a:gd name="T51" fmla="*/ 145 h 156"/>
                <a:gd name="T52" fmla="*/ 478 w 478"/>
                <a:gd name="T53" fmla="*/ 128 h 156"/>
                <a:gd name="T54" fmla="*/ 478 w 478"/>
                <a:gd name="T55" fmla="*/ 111 h 156"/>
                <a:gd name="T56" fmla="*/ 478 w 478"/>
                <a:gd name="T57" fmla="*/ 5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78" h="156">
                  <a:moveTo>
                    <a:pt x="478" y="50"/>
                  </a:moveTo>
                  <a:lnTo>
                    <a:pt x="473" y="33"/>
                  </a:lnTo>
                  <a:lnTo>
                    <a:pt x="467" y="17"/>
                  </a:lnTo>
                  <a:lnTo>
                    <a:pt x="456" y="12"/>
                  </a:lnTo>
                  <a:lnTo>
                    <a:pt x="439" y="0"/>
                  </a:lnTo>
                  <a:lnTo>
                    <a:pt x="417" y="0"/>
                  </a:lnTo>
                  <a:lnTo>
                    <a:pt x="412" y="0"/>
                  </a:lnTo>
                  <a:lnTo>
                    <a:pt x="245" y="0"/>
                  </a:lnTo>
                  <a:lnTo>
                    <a:pt x="233" y="0"/>
                  </a:lnTo>
                  <a:lnTo>
                    <a:pt x="72" y="0"/>
                  </a:lnTo>
                  <a:lnTo>
                    <a:pt x="62" y="0"/>
                  </a:lnTo>
                  <a:lnTo>
                    <a:pt x="39" y="0"/>
                  </a:lnTo>
                  <a:lnTo>
                    <a:pt x="28" y="12"/>
                  </a:lnTo>
                  <a:lnTo>
                    <a:pt x="17" y="17"/>
                  </a:lnTo>
                  <a:lnTo>
                    <a:pt x="5" y="33"/>
                  </a:lnTo>
                  <a:lnTo>
                    <a:pt x="0" y="50"/>
                  </a:lnTo>
                  <a:lnTo>
                    <a:pt x="0" y="111"/>
                  </a:lnTo>
                  <a:lnTo>
                    <a:pt x="0" y="128"/>
                  </a:lnTo>
                  <a:lnTo>
                    <a:pt x="11" y="145"/>
                  </a:lnTo>
                  <a:lnTo>
                    <a:pt x="17" y="150"/>
                  </a:lnTo>
                  <a:lnTo>
                    <a:pt x="33" y="156"/>
                  </a:lnTo>
                  <a:lnTo>
                    <a:pt x="233" y="156"/>
                  </a:lnTo>
                  <a:lnTo>
                    <a:pt x="245" y="156"/>
                  </a:lnTo>
                  <a:lnTo>
                    <a:pt x="444" y="156"/>
                  </a:lnTo>
                  <a:lnTo>
                    <a:pt x="461" y="150"/>
                  </a:lnTo>
                  <a:lnTo>
                    <a:pt x="473" y="145"/>
                  </a:lnTo>
                  <a:lnTo>
                    <a:pt x="478" y="128"/>
                  </a:lnTo>
                  <a:lnTo>
                    <a:pt x="478" y="111"/>
                  </a:lnTo>
                  <a:lnTo>
                    <a:pt x="478" y="50"/>
                  </a:lnTo>
                  <a:close/>
                </a:path>
              </a:pathLst>
            </a:cu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33" name="Freeform 51"/>
            <p:cNvSpPr>
              <a:spLocks/>
            </p:cNvSpPr>
            <p:nvPr/>
          </p:nvSpPr>
          <p:spPr bwMode="auto">
            <a:xfrm>
              <a:off x="2636500" y="3454216"/>
              <a:ext cx="729159" cy="62056"/>
            </a:xfrm>
            <a:custGeom>
              <a:avLst/>
              <a:gdLst>
                <a:gd name="T0" fmla="*/ 412 w 468"/>
                <a:gd name="T1" fmla="*/ 0 h 44"/>
                <a:gd name="T2" fmla="*/ 407 w 468"/>
                <a:gd name="T3" fmla="*/ 0 h 44"/>
                <a:gd name="T4" fmla="*/ 61 w 468"/>
                <a:gd name="T5" fmla="*/ 0 h 44"/>
                <a:gd name="T6" fmla="*/ 45 w 468"/>
                <a:gd name="T7" fmla="*/ 0 h 44"/>
                <a:gd name="T8" fmla="*/ 28 w 468"/>
                <a:gd name="T9" fmla="*/ 6 h 44"/>
                <a:gd name="T10" fmla="*/ 12 w 468"/>
                <a:gd name="T11" fmla="*/ 17 h 44"/>
                <a:gd name="T12" fmla="*/ 6 w 468"/>
                <a:gd name="T13" fmla="*/ 27 h 44"/>
                <a:gd name="T14" fmla="*/ 0 w 468"/>
                <a:gd name="T15" fmla="*/ 44 h 44"/>
                <a:gd name="T16" fmla="*/ 468 w 468"/>
                <a:gd name="T17" fmla="*/ 44 h 44"/>
                <a:gd name="T18" fmla="*/ 462 w 468"/>
                <a:gd name="T19" fmla="*/ 27 h 44"/>
                <a:gd name="T20" fmla="*/ 456 w 468"/>
                <a:gd name="T21" fmla="*/ 17 h 44"/>
                <a:gd name="T22" fmla="*/ 445 w 468"/>
                <a:gd name="T23" fmla="*/ 6 h 44"/>
                <a:gd name="T24" fmla="*/ 423 w 468"/>
                <a:gd name="T25" fmla="*/ 0 h 44"/>
                <a:gd name="T26" fmla="*/ 412 w 468"/>
                <a:gd name="T2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8" h="44">
                  <a:moveTo>
                    <a:pt x="412" y="0"/>
                  </a:moveTo>
                  <a:lnTo>
                    <a:pt x="407" y="0"/>
                  </a:lnTo>
                  <a:lnTo>
                    <a:pt x="61" y="0"/>
                  </a:lnTo>
                  <a:lnTo>
                    <a:pt x="45" y="0"/>
                  </a:lnTo>
                  <a:lnTo>
                    <a:pt x="28" y="6"/>
                  </a:lnTo>
                  <a:lnTo>
                    <a:pt x="12" y="17"/>
                  </a:lnTo>
                  <a:lnTo>
                    <a:pt x="6" y="27"/>
                  </a:lnTo>
                  <a:lnTo>
                    <a:pt x="0" y="44"/>
                  </a:lnTo>
                  <a:lnTo>
                    <a:pt x="468" y="44"/>
                  </a:lnTo>
                  <a:lnTo>
                    <a:pt x="462" y="27"/>
                  </a:lnTo>
                  <a:lnTo>
                    <a:pt x="456" y="17"/>
                  </a:lnTo>
                  <a:lnTo>
                    <a:pt x="445" y="6"/>
                  </a:lnTo>
                  <a:lnTo>
                    <a:pt x="423" y="0"/>
                  </a:lnTo>
                  <a:lnTo>
                    <a:pt x="412" y="0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2438400" y="3855965"/>
              <a:ext cx="1143000" cy="14018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35" name="Rectangle 34"/>
            <p:cNvSpPr/>
            <p:nvPr/>
          </p:nvSpPr>
          <p:spPr>
            <a:xfrm>
              <a:off x="2544434" y="4789692"/>
              <a:ext cx="190655" cy="228600"/>
            </a:xfrm>
            <a:prstGeom prst="rect">
              <a:avLst/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36" name="Rectangle 35"/>
            <p:cNvSpPr/>
            <p:nvPr/>
          </p:nvSpPr>
          <p:spPr>
            <a:xfrm>
              <a:off x="2790619" y="4698374"/>
              <a:ext cx="190655" cy="319918"/>
            </a:xfrm>
            <a:prstGeom prst="rect">
              <a:avLst/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3036804" y="4561092"/>
              <a:ext cx="190655" cy="457200"/>
            </a:xfrm>
            <a:prstGeom prst="rect">
              <a:avLst/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3282989" y="4408692"/>
              <a:ext cx="190655" cy="609600"/>
            </a:xfrm>
            <a:prstGeom prst="rect">
              <a:avLst/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rtlCol="0" anchor="ctr"/>
            <a:lstStyle/>
            <a:p>
              <a:pPr algn="ctr"/>
              <a:endParaRPr lang="en-US" sz="1200"/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6513978" y="3857106"/>
            <a:ext cx="2325222" cy="761999"/>
            <a:chOff x="6268323" y="1933529"/>
            <a:chExt cx="2325222" cy="761999"/>
          </a:xfrm>
        </p:grpSpPr>
        <p:sp>
          <p:nvSpPr>
            <p:cNvPr id="43" name="Rectangle 42"/>
            <p:cNvSpPr/>
            <p:nvPr/>
          </p:nvSpPr>
          <p:spPr>
            <a:xfrm rot="5400000">
              <a:off x="5971116" y="2230736"/>
              <a:ext cx="761999" cy="167585"/>
            </a:xfrm>
            <a:prstGeom prst="rect">
              <a:avLst/>
            </a:prstGeom>
            <a:solidFill>
              <a:srgbClr val="0D65AC"/>
            </a:solidFill>
            <a:ln w="3175">
              <a:noFill/>
              <a:round/>
              <a:headEnd/>
              <a:tailEnd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txBody>
            <a:bodyPr anchor="ctr"/>
            <a:lstStyle/>
            <a:p>
              <a:pPr defTabSz="457200"/>
              <a:endParaRPr lang="en-US" sz="12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6553200" y="1991363"/>
              <a:ext cx="2040345" cy="6463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 dirty="0" err="1" smtClean="0"/>
                <a:t>Lorem</a:t>
              </a:r>
              <a:r>
                <a:rPr lang="en-US" sz="1200" b="1" dirty="0" smtClean="0"/>
                <a:t> </a:t>
              </a:r>
              <a:r>
                <a:rPr lang="en-US" sz="1200" b="1" dirty="0" err="1"/>
                <a:t>Ipsum</a:t>
              </a:r>
              <a:r>
                <a:rPr lang="en-US" sz="1200" dirty="0"/>
                <a:t> is simply dummy text of the printing and typesetting</a:t>
              </a:r>
            </a:p>
          </p:txBody>
        </p:sp>
      </p:grpSp>
      <p:sp>
        <p:nvSpPr>
          <p:cNvPr id="40" name="Date Placeholder 39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NAME OF PRESENTER</a:t>
            </a:r>
            <a:endParaRPr lang="en-US" dirty="0"/>
          </a:p>
        </p:txBody>
      </p:sp>
      <p:sp>
        <p:nvSpPr>
          <p:cNvPr id="41" name="Footer Placeholder 4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525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510214e9c8084e728c5354a2b0a2123799a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GSdgH.uUSydgA0ng7C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6xVAy8hE2eoeXS.Jc.2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6xVAy8hE2eoeXS.Jc.2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6xVAy8hE2eoeXS.Jc.2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6xVAy8hE2eoeXS.Jc.2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solidFill>
          <a:srgbClr val="D5D5D5"/>
        </a:solidFill>
        <a:ln w="3175">
          <a:noFill/>
          <a:round/>
          <a:headEnd/>
          <a:tailEnd/>
        </a:ln>
        <a:effectLst/>
      </a:spPr>
      <a:bodyPr wrap="square" tIns="91440" bIns="91440" anchor="ctr">
        <a:spAutoFit/>
      </a:bodyPr>
      <a:lstStyle>
        <a:defPPr>
          <a:defRPr b="1" dirty="0" err="1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79</TotalTime>
  <Words>563</Words>
  <Application>Microsoft Office PowerPoint</Application>
  <PresentationFormat>On-screen Show (4:3)</PresentationFormat>
  <Paragraphs>139</Paragraphs>
  <Slides>9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lideshop.c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Presentation</dc:title>
  <dc:creator>Slideshop.com</dc:creator>
  <cp:lastModifiedBy>Ellis</cp:lastModifiedBy>
  <cp:revision>187</cp:revision>
  <dcterms:created xsi:type="dcterms:W3CDTF">2013-04-12T09:04:25Z</dcterms:created>
  <dcterms:modified xsi:type="dcterms:W3CDTF">2013-10-09T02:30:38Z</dcterms:modified>
</cp:coreProperties>
</file>